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2" r:id="rId2"/>
    <p:sldMasterId id="2147483678" r:id="rId3"/>
  </p:sldMasterIdLst>
  <p:notesMasterIdLst>
    <p:notesMasterId r:id="rId11"/>
  </p:notesMasterIdLst>
  <p:handoutMasterIdLst>
    <p:handoutMasterId r:id="rId12"/>
  </p:handoutMasterIdLst>
  <p:sldIdLst>
    <p:sldId id="4168" r:id="rId4"/>
    <p:sldId id="4182" r:id="rId5"/>
    <p:sldId id="4175" r:id="rId6"/>
    <p:sldId id="4186" r:id="rId7"/>
    <p:sldId id="4187" r:id="rId8"/>
    <p:sldId id="4185" r:id="rId9"/>
    <p:sldId id="4188" r:id="rId10"/>
  </p:sldIdLst>
  <p:sldSz cx="11949113" cy="6721475"/>
  <p:notesSz cx="7023100" cy="93091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7">
          <p15:clr>
            <a:srgbClr val="A4A3A4"/>
          </p15:clr>
        </p15:guide>
        <p15:guide id="2" pos="680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li Svimonia" initials="LS" lastIdx="3" clrIdx="0">
    <p:extLst>
      <p:ext uri="{19B8F6BF-5375-455C-9EA6-DF929625EA0E}">
        <p15:presenceInfo xmlns:p15="http://schemas.microsoft.com/office/powerpoint/2012/main" userId="S-1-5-21-1628578786-281460347-427250260-1496" providerId="AD"/>
      </p:ext>
    </p:extLst>
  </p:cmAuthor>
  <p:cmAuthor id="2" name="Kristina Hakobyan" initials="KH" lastIdx="2" clrIdx="1">
    <p:extLst>
      <p:ext uri="{19B8F6BF-5375-455C-9EA6-DF929625EA0E}">
        <p15:presenceInfo xmlns:p15="http://schemas.microsoft.com/office/powerpoint/2012/main" userId="S-1-5-21-1628578786-281460347-427250260-121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9FF"/>
    <a:srgbClr val="AFD7FF"/>
    <a:srgbClr val="A7D3FF"/>
    <a:srgbClr val="AAD5F8"/>
    <a:srgbClr val="C6ECD9"/>
    <a:srgbClr val="B4E6CD"/>
    <a:srgbClr val="339966"/>
    <a:srgbClr val="D9FFCD"/>
    <a:srgbClr val="D6F2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08" autoAdjust="0"/>
    <p:restoredTop sz="96110" autoAdjust="0"/>
  </p:normalViewPr>
  <p:slideViewPr>
    <p:cSldViewPr snapToGrid="0">
      <p:cViewPr varScale="1">
        <p:scale>
          <a:sx n="117" d="100"/>
          <a:sy n="117" d="100"/>
        </p:scale>
        <p:origin x="954" y="114"/>
      </p:cViewPr>
      <p:guideLst>
        <p:guide orient="horz" pos="2117"/>
        <p:guide pos="6806"/>
      </p:guideLst>
    </p:cSldViewPr>
  </p:slideViewPr>
  <p:outlineViewPr>
    <p:cViewPr>
      <p:scale>
        <a:sx n="33" d="100"/>
        <a:sy n="33" d="100"/>
      </p:scale>
      <p:origin x="0" y="2194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98" cy="4653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78062" y="1"/>
            <a:ext cx="3043398" cy="4653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9AA21F-CACA-4032-AA3B-DD6D31937308}" type="datetimeFigureOut">
              <a:rPr lang="ru-RU" smtClean="0"/>
              <a:t>17.03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842224"/>
            <a:ext cx="3043398" cy="4653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78062" y="8842224"/>
            <a:ext cx="3043398" cy="46538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0F753-BE9D-40C0-BABA-FDE91E47DB9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5397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4" y="2"/>
            <a:ext cx="3043343" cy="4670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80C113-B70E-4F2E-9745-B8F37A032A3B}" type="datetimeFigureOut">
              <a:rPr lang="ru-RU" smtClean="0"/>
              <a:t>17.03.2023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0725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80008"/>
            <a:ext cx="5618480" cy="366545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29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4" y="8842029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D2D842-AD2A-49E2-A474-D4A0F25511B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0527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D2D842-AD2A-49E2-A474-D4A0F25511B0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5329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6.xml"/><Relationship Id="rId7" Type="http://schemas.openxmlformats.org/officeDocument/2006/relationships/image" Target="../media/image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3.xml"/><Relationship Id="rId10" Type="http://schemas.openxmlformats.org/officeDocument/2006/relationships/image" Target="../media/image10.png"/><Relationship Id="rId4" Type="http://schemas.openxmlformats.org/officeDocument/2006/relationships/tags" Target="../tags/tag12.xml"/><Relationship Id="rId9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8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04034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55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CA58A7E-388B-45F7-BAD2-CDED619857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E72006-A348-4050-AB13-6EC2C8B342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4827" y="-10019"/>
            <a:ext cx="9614286" cy="6731498"/>
          </a:xfrm>
          <a:prstGeom prst="rect">
            <a:avLst/>
          </a:prstGeom>
        </p:spPr>
      </p:pic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33577" y="3846279"/>
            <a:ext cx="784682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10" name="Freeform 15">
            <a:extLst>
              <a:ext uri="{FF2B5EF4-FFF2-40B4-BE49-F238E27FC236}">
                <a16:creationId xmlns:a16="http://schemas.microsoft.com/office/drawing/2014/main" id="{5F02BE9E-B7AB-4770-9820-D22D619CEF80}"/>
              </a:ext>
            </a:extLst>
          </p:cNvPr>
          <p:cNvSpPr/>
          <p:nvPr/>
        </p:nvSpPr>
        <p:spPr>
          <a:xfrm>
            <a:off x="3" y="-8441"/>
            <a:ext cx="6794335" cy="6729919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 dirty="0"/>
          </a:p>
        </p:txBody>
      </p:sp>
      <p:pic>
        <p:nvPicPr>
          <p:cNvPr id="11" name="Picture 7" descr="Znalezione obrazy dla zapytania vtb bank">
            <a:extLst>
              <a:ext uri="{FF2B5EF4-FFF2-40B4-BE49-F238E27FC236}">
                <a16:creationId xmlns:a16="http://schemas.microsoft.com/office/drawing/2014/main" id="{5236C2A2-04BC-4FA3-A154-D4D596D18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673" y="444766"/>
            <a:ext cx="1340077" cy="480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89EC3EA-7E3B-43BB-A4AA-A2C12D92A5A3}"/>
              </a:ext>
            </a:extLst>
          </p:cNvPr>
          <p:cNvGrpSpPr/>
          <p:nvPr/>
        </p:nvGrpSpPr>
        <p:grpSpPr>
          <a:xfrm>
            <a:off x="2942473" y="1907177"/>
            <a:ext cx="2770349" cy="4817807"/>
            <a:chOff x="3029564" y="1657660"/>
            <a:chExt cx="2428455" cy="501507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1AAB04B-E70E-4D0E-8C7B-DF39F6A836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56727" y="1657660"/>
              <a:ext cx="2201292" cy="5015070"/>
            </a:xfrm>
            <a:prstGeom prst="line">
              <a:avLst/>
            </a:prstGeom>
            <a:noFill/>
            <a:ln w="15875">
              <a:solidFill>
                <a:srgbClr val="0016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1B1CA1A-481D-49C6-8072-C1F8CF18A3F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46742" y="3505335"/>
              <a:ext cx="1383069" cy="3167395"/>
            </a:xfrm>
            <a:prstGeom prst="line">
              <a:avLst/>
            </a:prstGeom>
            <a:noFill/>
            <a:ln w="158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72ACE1-781B-42CE-B54D-1E8FC5C1B8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29564" y="4299009"/>
              <a:ext cx="1041910" cy="2373721"/>
            </a:xfrm>
            <a:prstGeom prst="line">
              <a:avLst/>
            </a:prstGeom>
            <a:noFill/>
            <a:ln w="15875">
              <a:solidFill>
                <a:srgbClr val="0D2C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8C05B75-2864-4BAB-A1AB-441E99213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921" y="2257391"/>
            <a:ext cx="2860490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21843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39713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605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48772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067" smtClean="0">
                <a:solidFill>
                  <a:srgbClr val="FFFFFF"/>
                </a:solidFill>
              </a:rPr>
              <a:pPr/>
              <a:t>‹#›</a:t>
            </a:fld>
            <a:endParaRPr lang="ru-RU" sz="1067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ru-RU" sz="1067" dirty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10776428" y="227221"/>
            <a:ext cx="872331" cy="34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7952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B2A3D-BAAA-4B0A-9FEC-B8A909DF0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6FFD3-2709-470D-A7DF-C193E0941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88996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629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/>
          <p:cNvSpPr>
            <a:spLocks noGrp="1"/>
          </p:cNvSpPr>
          <p:nvPr>
            <p:ph type="title"/>
          </p:nvPr>
        </p:nvSpPr>
        <p:spPr bwMode="gray">
          <a:xfrm>
            <a:off x="158761" y="230191"/>
            <a:ext cx="11491891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419923" y="6535204"/>
            <a:ext cx="70532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450" smtClean="0">
                <a:solidFill>
                  <a:srgbClr val="808080"/>
                </a:solidFill>
              </a:rPr>
              <a:pPr/>
              <a:t>‹#›</a:t>
            </a:fld>
            <a:endParaRPr lang="en-US" sz="450" dirty="0">
              <a:solidFill>
                <a:srgbClr val="808080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718258" y="6535204"/>
            <a:ext cx="56746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71453"/>
            <a:r>
              <a:rPr lang="en-US" sz="45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64797796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8650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7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CA58A7E-388B-45F7-BAD2-CDED619857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E72006-A348-4050-AB13-6EC2C8B342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4827" y="-10019"/>
            <a:ext cx="9614286" cy="6731498"/>
          </a:xfrm>
          <a:prstGeom prst="rect">
            <a:avLst/>
          </a:prstGeom>
        </p:spPr>
      </p:pic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33577" y="3846279"/>
            <a:ext cx="784682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10" name="Freeform 15">
            <a:extLst>
              <a:ext uri="{FF2B5EF4-FFF2-40B4-BE49-F238E27FC236}">
                <a16:creationId xmlns:a16="http://schemas.microsoft.com/office/drawing/2014/main" id="{5F02BE9E-B7AB-4770-9820-D22D619CEF80}"/>
              </a:ext>
            </a:extLst>
          </p:cNvPr>
          <p:cNvSpPr/>
          <p:nvPr/>
        </p:nvSpPr>
        <p:spPr>
          <a:xfrm>
            <a:off x="3" y="-8441"/>
            <a:ext cx="6794335" cy="6729919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 dirty="0">
              <a:solidFill>
                <a:srgbClr val="FFFFFF"/>
              </a:solidFill>
            </a:endParaRPr>
          </a:p>
        </p:txBody>
      </p:sp>
      <p:pic>
        <p:nvPicPr>
          <p:cNvPr id="11" name="Picture 7" descr="Znalezione obrazy dla zapytania vtb bank">
            <a:extLst>
              <a:ext uri="{FF2B5EF4-FFF2-40B4-BE49-F238E27FC236}">
                <a16:creationId xmlns:a16="http://schemas.microsoft.com/office/drawing/2014/main" id="{5236C2A2-04BC-4FA3-A154-D4D596D18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673" y="444766"/>
            <a:ext cx="1340077" cy="480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89EC3EA-7E3B-43BB-A4AA-A2C12D92A5A3}"/>
              </a:ext>
            </a:extLst>
          </p:cNvPr>
          <p:cNvGrpSpPr/>
          <p:nvPr/>
        </p:nvGrpSpPr>
        <p:grpSpPr>
          <a:xfrm>
            <a:off x="2942473" y="1907177"/>
            <a:ext cx="2770349" cy="4817807"/>
            <a:chOff x="3029564" y="1657660"/>
            <a:chExt cx="2428455" cy="501507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1AAB04B-E70E-4D0E-8C7B-DF39F6A836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56727" y="1657660"/>
              <a:ext cx="2201292" cy="5015070"/>
            </a:xfrm>
            <a:prstGeom prst="line">
              <a:avLst/>
            </a:prstGeom>
            <a:noFill/>
            <a:ln w="15875">
              <a:solidFill>
                <a:srgbClr val="0016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1B1CA1A-481D-49C6-8072-C1F8CF18A3F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46742" y="3505335"/>
              <a:ext cx="1383069" cy="3167395"/>
            </a:xfrm>
            <a:prstGeom prst="line">
              <a:avLst/>
            </a:prstGeom>
            <a:noFill/>
            <a:ln w="158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72ACE1-781B-42CE-B54D-1E8FC5C1B8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29564" y="4299009"/>
              <a:ext cx="1041910" cy="2373721"/>
            </a:xfrm>
            <a:prstGeom prst="line">
              <a:avLst/>
            </a:prstGeom>
            <a:noFill/>
            <a:ln w="15875">
              <a:solidFill>
                <a:srgbClr val="0D2C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8C05B75-2864-4BAB-A1AB-441E99213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921" y="2257391"/>
            <a:ext cx="2860490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46632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55035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700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51663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mtClean="0">
                <a:solidFill>
                  <a:srgbClr val="808080"/>
                </a:solidFill>
              </a:rPr>
              <a:pPr/>
              <a:t>‹#›</a:t>
            </a:fld>
            <a:endParaRPr lang="ru-RU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779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9914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724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48772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067" smtClean="0">
                <a:solidFill>
                  <a:srgbClr val="FFFFFF"/>
                </a:solidFill>
              </a:rPr>
              <a:pPr/>
              <a:t>‹#›</a:t>
            </a:fld>
            <a:endParaRPr lang="ru-RU" sz="1067" dirty="0">
              <a:solidFill>
                <a:srgbClr val="FFFFFF"/>
              </a:solidFill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ru-RU" sz="1067" dirty="0">
              <a:solidFill>
                <a:srgbClr val="808080"/>
              </a:solidFill>
              <a:latin typeface="Arial"/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10776428" y="227221"/>
            <a:ext cx="872331" cy="34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068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B2A3D-BAAA-4B0A-9FEC-B8A909DF0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6FFD3-2709-470D-A7DF-C193E0941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31111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748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/>
          <p:cNvSpPr>
            <a:spLocks noGrp="1"/>
          </p:cNvSpPr>
          <p:nvPr>
            <p:ph type="title"/>
          </p:nvPr>
        </p:nvSpPr>
        <p:spPr bwMode="gray">
          <a:xfrm>
            <a:off x="158761" y="230191"/>
            <a:ext cx="11491891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419923" y="6535204"/>
            <a:ext cx="70532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450" smtClean="0">
                <a:solidFill>
                  <a:srgbClr val="808080"/>
                </a:solidFill>
              </a:rPr>
              <a:pPr/>
              <a:t>‹#›</a:t>
            </a:fld>
            <a:endParaRPr lang="en-US" sz="450" dirty="0">
              <a:solidFill>
                <a:srgbClr val="808080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718258" y="6535204"/>
            <a:ext cx="56746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71453"/>
            <a:r>
              <a:rPr lang="en-US" sz="45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2111289392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9447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74969" y="382986"/>
            <a:ext cx="6718264" cy="760157"/>
          </a:xfrm>
        </p:spPr>
        <p:txBody>
          <a:bodyPr/>
          <a:lstStyle/>
          <a:p>
            <a:r>
              <a:rPr lang="ru-RU" dirty="0"/>
              <a:t>Образец 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74966" y="2237381"/>
            <a:ext cx="5968333" cy="37372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>
                <a:solidFill>
                  <a:srgbClr val="333333">
                    <a:tint val="75000"/>
                  </a:srgbClr>
                </a:solidFill>
              </a:rPr>
              <a:pPr/>
              <a:t>17.03.2023</a:t>
            </a:fld>
            <a:endParaRPr lang="ru-RU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rgbClr val="333333">
                    <a:tint val="75000"/>
                  </a:srgbClr>
                </a:solidFill>
              </a:rPr>
              <a:t>Размещение денежных средств в срочные депозиты «Овернайт»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74966" y="1490552"/>
            <a:ext cx="5968333" cy="2171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464340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062343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577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27AE1BB-729E-45B0-BDA5-83003B76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49288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000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ru-RU" sz="10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6471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77" y="1565"/>
          <a:ext cx="2074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77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77" y="1565"/>
                        <a:ext cx="2074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Grp="1" noChangeArrowheads="1"/>
          </p:cNvSpPr>
          <p:nvPr>
            <p:ph type="title" hasCustomPrompt="1"/>
            <p:custDataLst>
              <p:tags r:id="rId3"/>
            </p:custDataLst>
          </p:nvPr>
        </p:nvSpPr>
        <p:spPr bwMode="auto">
          <a:xfrm>
            <a:off x="0" y="161777"/>
            <a:ext cx="11949113" cy="327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2" tIns="45701" rIns="91402" bIns="45701" numCol="1" anchor="ctr" anchorCtr="0" compatLnSpc="1">
            <a:prstTxWarp prst="textNoShape">
              <a:avLst/>
            </a:prstTxWarp>
          </a:bodyPr>
          <a:lstStyle>
            <a:lvl1pPr>
              <a:defRPr sz="1700" b="1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0940906" y="6335613"/>
            <a:ext cx="497880" cy="357856"/>
          </a:xfrm>
        </p:spPr>
        <p:txBody>
          <a:bodyPr/>
          <a:lstStyle>
            <a:lvl1pPr>
              <a:defRPr/>
            </a:lvl1pPr>
          </a:lstStyle>
          <a:p>
            <a:fld id="{93BAB17F-FED3-43E4-941A-B2E3B3A03630}" type="slidenum">
              <a:rPr lang="ru-RU" altLang="ru-RU">
                <a:solidFill>
                  <a:srgbClr val="000000"/>
                </a:solidFill>
              </a:rPr>
              <a:pPr/>
              <a:t>‹#›</a:t>
            </a:fld>
            <a:endParaRPr lang="ru-RU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082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>
            <a:extLst>
              <a:ext uri="{FF2B5EF4-FFF2-40B4-BE49-F238E27FC236}">
                <a16:creationId xmlns:a16="http://schemas.microsoft.com/office/drawing/2014/main" id="{7897B4BB-D3EF-4820-BFFB-B68CE6C5BD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158758" y="230189"/>
            <a:ext cx="10471142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8092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8AB67CB-A75D-48EB-9444-030D74C94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6057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5601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8AB67CB-A75D-48EB-9444-030D74C94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11419923" y="6487722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067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1067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ru-RU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pic>
        <p:nvPicPr>
          <p:cNvPr id="8" name="Изображение 8">
            <a:extLst>
              <a:ext uri="{FF2B5EF4-FFF2-40B4-BE49-F238E27FC236}">
                <a16:creationId xmlns:a16="http://schemas.microsoft.com/office/drawing/2014/main" id="{B797639E-EEBB-4ECA-A9AE-3976105A0A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24" t="20045" r="13408" b="27065"/>
          <a:stretch/>
        </p:blipFill>
        <p:spPr>
          <a:xfrm>
            <a:off x="10776428" y="227221"/>
            <a:ext cx="872331" cy="347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513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04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96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AB2A3D-BAAA-4B0A-9FEC-B8A909DF0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D6FFD3-2709-470D-A7DF-C193E09410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07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1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625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/>
          <p:cNvSpPr>
            <a:spLocks noGrp="1"/>
          </p:cNvSpPr>
          <p:nvPr>
            <p:ph type="title"/>
          </p:nvPr>
        </p:nvSpPr>
        <p:spPr bwMode="gray">
          <a:xfrm>
            <a:off x="158761" y="230191"/>
            <a:ext cx="11491891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11419923" y="6535204"/>
            <a:ext cx="70532" cy="6925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z="450" smtClean="0">
                <a:solidFill>
                  <a:schemeClr val="accent6"/>
                </a:solidFill>
              </a:rPr>
              <a:pPr lvl="0"/>
              <a:t>‹#›</a:t>
            </a:fld>
            <a:endParaRPr lang="en-US" sz="450" dirty="0">
              <a:solidFill>
                <a:schemeClr val="accent6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718258" y="6535204"/>
            <a:ext cx="567463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671453"/>
            <a:r>
              <a:rPr lang="en-US" sz="450" baseline="0" noProof="0" dirty="0">
                <a:solidFill>
                  <a:schemeClr val="accent6"/>
                </a:solidFill>
                <a:latin typeface="+mn-lt"/>
                <a:ea typeface="+mn-ea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48258328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8" y="0"/>
          <a:ext cx="207450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098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" y="0"/>
                        <a:ext cx="207450" cy="155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8" descr="VTB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lum bright="-12000" contrast="-6000"/>
          </a:blip>
          <a:srcRect/>
          <a:stretch>
            <a:fillRect/>
          </a:stretch>
        </p:blipFill>
        <p:spPr bwMode="auto">
          <a:xfrm>
            <a:off x="10138112" y="191379"/>
            <a:ext cx="1599437" cy="460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Rectangle 1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48"/>
            <a:ext cx="11949113" cy="756166"/>
          </a:xfrm>
          <a:prstGeom prst="rect">
            <a:avLst/>
          </a:prstGeom>
          <a:solidFill>
            <a:srgbClr val="D4E1F0"/>
          </a:solidFill>
          <a:ln>
            <a:noFill/>
          </a:ln>
        </p:spPr>
        <p:txBody>
          <a:bodyPr wrap="none" lIns="89524" tIns="44766" rIns="89524" bIns="44766" anchor="ctr"/>
          <a:lstStyle/>
          <a:p>
            <a:pPr algn="ctr" eaLnBrk="0" hangingPunct="0">
              <a:defRPr/>
            </a:pPr>
            <a:endParaRPr lang="ru-RU" sz="2400" b="1" dirty="0">
              <a:solidFill>
                <a:srgbClr val="0A2973"/>
              </a:solidFill>
              <a:sym typeface="Arial"/>
            </a:endParaRPr>
          </a:p>
        </p:txBody>
      </p:sp>
      <p:graphicFrame>
        <p:nvGraphicFramePr>
          <p:cNvPr id="22" name="Object 3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" y="0"/>
          <a:ext cx="207450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809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" y="0"/>
                        <a:ext cx="207450" cy="1555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Box 2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331056" y="6498452"/>
            <a:ext cx="1618110" cy="198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9524" tIns="44766" rIns="89524" bIns="44766" anchor="b">
            <a:spAutoFit/>
          </a:bodyPr>
          <a:lstStyle/>
          <a:p>
            <a:pPr algn="r" eaLnBrk="0" hangingPunct="0">
              <a:defRPr/>
            </a:pPr>
            <a:r>
              <a:rPr lang="en-US" sz="700" dirty="0">
                <a:solidFill>
                  <a:srgbClr val="0A2973"/>
                </a:solidFill>
                <a:sym typeface="Arial"/>
              </a:rPr>
              <a:t> </a:t>
            </a:r>
            <a:fld id="{F184DBEE-18CC-4711-BA27-5B210905AF2B}" type="slidenum">
              <a:rPr lang="en-US" sz="700">
                <a:solidFill>
                  <a:srgbClr val="0A2973"/>
                </a:solidFill>
                <a:sym typeface="Arial"/>
              </a:rPr>
              <a:pPr algn="r" eaLnBrk="0" hangingPunct="0">
                <a:defRPr/>
              </a:pPr>
              <a:t>‹#›</a:t>
            </a:fld>
            <a:endParaRPr lang="en-US" sz="700" dirty="0">
              <a:solidFill>
                <a:srgbClr val="0A2973"/>
              </a:solidFill>
              <a:effectLst>
                <a:outerShdw blurRad="38100" dist="38100" dir="2700000" algn="tl">
                  <a:srgbClr val="C0C0C0"/>
                </a:outerShdw>
              </a:effectLst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529" y="73143"/>
            <a:ext cx="11528001" cy="33855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7375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>
            <a:extLst>
              <a:ext uri="{FF2B5EF4-FFF2-40B4-BE49-F238E27FC236}">
                <a16:creationId xmlns:a16="http://schemas.microsoft.com/office/drawing/2014/main" id="{7897B4BB-D3EF-4820-BFFB-B68CE6C5BD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158758" y="230189"/>
            <a:ext cx="10471142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7886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406418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55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CA58A7E-388B-45F7-BAD2-CDED6198577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E72006-A348-4050-AB13-6EC2C8B342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34827" y="-10019"/>
            <a:ext cx="9614286" cy="6731498"/>
          </a:xfrm>
          <a:prstGeom prst="rect">
            <a:avLst/>
          </a:prstGeom>
        </p:spPr>
      </p:pic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33577" y="3846279"/>
            <a:ext cx="784682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dirty="0">
                <a:solidFill>
                  <a:srgbClr val="808080"/>
                </a:solidFill>
                <a:latin typeface="Arial"/>
              </a:rPr>
              <a:t>Тип документа | Дата</a:t>
            </a:r>
          </a:p>
        </p:txBody>
      </p:sp>
      <p:sp>
        <p:nvSpPr>
          <p:cNvPr id="10" name="Freeform 15">
            <a:extLst>
              <a:ext uri="{FF2B5EF4-FFF2-40B4-BE49-F238E27FC236}">
                <a16:creationId xmlns:a16="http://schemas.microsoft.com/office/drawing/2014/main" id="{5F02BE9E-B7AB-4770-9820-D22D619CEF80}"/>
              </a:ext>
            </a:extLst>
          </p:cNvPr>
          <p:cNvSpPr/>
          <p:nvPr/>
        </p:nvSpPr>
        <p:spPr>
          <a:xfrm>
            <a:off x="3" y="-8441"/>
            <a:ext cx="6794335" cy="6729919"/>
          </a:xfrm>
          <a:custGeom>
            <a:avLst/>
            <a:gdLst>
              <a:gd name="connsiteX0" fmla="*/ 74 w 7772638"/>
              <a:gd name="connsiteY0" fmla="*/ 0 h 6866616"/>
              <a:gd name="connsiteX1" fmla="*/ 7772638 w 7772638"/>
              <a:gd name="connsiteY1" fmla="*/ 0 h 6866616"/>
              <a:gd name="connsiteX2" fmla="*/ 3789766 w 7772638"/>
              <a:gd name="connsiteY2" fmla="*/ 6866616 h 6866616"/>
              <a:gd name="connsiteX3" fmla="*/ 0 w 7772638"/>
              <a:gd name="connsiteY3" fmla="*/ 6866616 h 6866616"/>
              <a:gd name="connsiteX4" fmla="*/ 0 w 7772638"/>
              <a:gd name="connsiteY4" fmla="*/ 6863442 h 6866616"/>
              <a:gd name="connsiteX5" fmla="*/ 0 w 7772638"/>
              <a:gd name="connsiteY5" fmla="*/ 1 h 6866616"/>
              <a:gd name="connsiteX6" fmla="*/ 74 w 7772638"/>
              <a:gd name="connsiteY6" fmla="*/ 0 h 68666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72638" h="6866616">
                <a:moveTo>
                  <a:pt x="74" y="0"/>
                </a:moveTo>
                <a:lnTo>
                  <a:pt x="7772638" y="0"/>
                </a:lnTo>
                <a:lnTo>
                  <a:pt x="3789766" y="6866616"/>
                </a:lnTo>
                <a:lnTo>
                  <a:pt x="0" y="6866616"/>
                </a:lnTo>
                <a:lnTo>
                  <a:pt x="0" y="6863442"/>
                </a:lnTo>
                <a:lnTo>
                  <a:pt x="0" y="1"/>
                </a:lnTo>
                <a:lnTo>
                  <a:pt x="74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29" dirty="0">
              <a:solidFill>
                <a:srgbClr val="FFFFFF"/>
              </a:solidFill>
            </a:endParaRPr>
          </a:p>
        </p:txBody>
      </p:sp>
      <p:pic>
        <p:nvPicPr>
          <p:cNvPr id="11" name="Picture 7" descr="Znalezione obrazy dla zapytania vtb bank">
            <a:extLst>
              <a:ext uri="{FF2B5EF4-FFF2-40B4-BE49-F238E27FC236}">
                <a16:creationId xmlns:a16="http://schemas.microsoft.com/office/drawing/2014/main" id="{5236C2A2-04BC-4FA3-A154-D4D596D18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673" y="444766"/>
            <a:ext cx="1340077" cy="480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589EC3EA-7E3B-43BB-A4AA-A2C12D92A5A3}"/>
              </a:ext>
            </a:extLst>
          </p:cNvPr>
          <p:cNvGrpSpPr/>
          <p:nvPr/>
        </p:nvGrpSpPr>
        <p:grpSpPr>
          <a:xfrm>
            <a:off x="2942473" y="1907177"/>
            <a:ext cx="2770349" cy="4817807"/>
            <a:chOff x="3029564" y="1657660"/>
            <a:chExt cx="2428455" cy="501507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1AAB04B-E70E-4D0E-8C7B-DF39F6A836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256727" y="1657660"/>
              <a:ext cx="2201292" cy="5015070"/>
            </a:xfrm>
            <a:prstGeom prst="line">
              <a:avLst/>
            </a:prstGeom>
            <a:noFill/>
            <a:ln w="15875">
              <a:solidFill>
                <a:srgbClr val="00166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1B1CA1A-481D-49C6-8072-C1F8CF18A3F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146742" y="3505335"/>
              <a:ext cx="1383069" cy="3167395"/>
            </a:xfrm>
            <a:prstGeom prst="line">
              <a:avLst/>
            </a:prstGeom>
            <a:noFill/>
            <a:ln w="1587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972ACE1-781B-42CE-B54D-1E8FC5C1B8A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029564" y="4299009"/>
              <a:ext cx="1041910" cy="2373721"/>
            </a:xfrm>
            <a:prstGeom prst="line">
              <a:avLst/>
            </a:prstGeom>
            <a:noFill/>
            <a:ln w="15875">
              <a:solidFill>
                <a:srgbClr val="0D2C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8C05B75-2864-4BAB-A1AB-441E99213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921" y="2257391"/>
            <a:ext cx="2860490" cy="3385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0479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27AE1BB-729E-45B0-BDA5-83003B76EC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14232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81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11419923" y="649288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mtClean="0">
                <a:solidFill>
                  <a:srgbClr val="808080"/>
                </a:solidFill>
              </a:rPr>
              <a:pPr/>
              <a:t>‹#›</a:t>
            </a:fld>
            <a:endParaRPr lang="ru-RU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009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3" Type="http://schemas.openxmlformats.org/officeDocument/2006/relationships/slideLayout" Target="../slideLayouts/slideLayout10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2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2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3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vmlDrawing" Target="../drawings/vmlDrawing12.v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emf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oleObject" Target="../embeddings/oleObject13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10576410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739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8" y="230189"/>
            <a:ext cx="1047114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45284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8" y="666162"/>
            <a:ext cx="1016256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2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2200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13983"/>
            <a:ext cx="1149189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9" y="6477496"/>
            <a:ext cx="95411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812841" indent="-812841" defTabSz="1193860">
              <a:tabLst>
                <a:tab pos="840359" algn="l"/>
              </a:tabLst>
            </a:pPr>
            <a:r>
              <a:rPr lang="ru-RU" sz="1000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00" b="1" baseline="0" dirty="0">
                  <a:solidFill>
                    <a:schemeClr val="accent4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028232" y="667386"/>
            <a:ext cx="622414" cy="191912"/>
            <a:chOff x="8273985" y="285750"/>
            <a:chExt cx="466790" cy="1919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3985" y="285750"/>
              <a:ext cx="466790" cy="1919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ru-RU" sz="10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3985" y="285750"/>
              <a:ext cx="0" cy="19191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3985" y="477662"/>
              <a:ext cx="46679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10781227" y="230189"/>
            <a:ext cx="833438" cy="3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449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90" r:id="rId6"/>
    <p:sldLayoutId id="2147483691" r:id="rId7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83928008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533" name="Слайд think-cell" r:id="rId10" imgW="270" imgH="270" progId="TCLayout.ActiveDocument.1">
                  <p:embed/>
                </p:oleObj>
              </mc:Choice>
              <mc:Fallback>
                <p:oleObj name="Слайд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8" y="230189"/>
            <a:ext cx="1047114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45284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8" y="666162"/>
            <a:ext cx="1016256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200" dirty="0">
                <a:solidFill>
                  <a:srgbClr val="808080"/>
                </a:solidFill>
                <a:latin typeface="Arial"/>
              </a:rPr>
              <a:t>Subtitle</a:t>
            </a:r>
            <a:endParaRPr lang="ru-RU" sz="2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13983"/>
            <a:ext cx="1149189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9" y="6477496"/>
            <a:ext cx="95411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812841" indent="-812841" defTabSz="1193860">
              <a:tabLst>
                <a:tab pos="840359" algn="l"/>
              </a:tabLst>
            </a:pPr>
            <a:r>
              <a:rPr lang="ru-RU" sz="1000" dirty="0">
                <a:solidFill>
                  <a:srgbClr val="808080"/>
                </a:solidFill>
                <a:latin typeface="Arial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A2896"/>
                  </a:solidFill>
                  <a:latin typeface="Arial"/>
                </a:rPr>
                <a:t>Название документа</a:t>
              </a:r>
            </a:p>
            <a:p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028232" y="667386"/>
            <a:ext cx="622414" cy="191912"/>
            <a:chOff x="8273985" y="285750"/>
            <a:chExt cx="466790" cy="1919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3985" y="285750"/>
              <a:ext cx="466790" cy="1919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ru-RU" sz="1067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3985" y="285750"/>
              <a:ext cx="0" cy="19191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3985" y="477662"/>
              <a:ext cx="46679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10781227" y="230189"/>
            <a:ext cx="833438" cy="3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373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34893146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652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3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2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58" y="230189"/>
            <a:ext cx="10471142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58758" y="45284"/>
            <a:ext cx="61234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58" y="666162"/>
            <a:ext cx="10162566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200" dirty="0">
                <a:solidFill>
                  <a:srgbClr val="808080"/>
                </a:solidFill>
                <a:latin typeface="Arial"/>
              </a:rPr>
              <a:t>Subtitle</a:t>
            </a:r>
            <a:endParaRPr lang="ru-RU" sz="22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13983"/>
            <a:ext cx="1149189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9" y="6477496"/>
            <a:ext cx="95411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812841" indent="-812841" defTabSz="1193860">
              <a:tabLst>
                <a:tab pos="840359" algn="l"/>
              </a:tabLst>
            </a:pPr>
            <a:r>
              <a:rPr lang="ru-RU" sz="1000" dirty="0">
                <a:solidFill>
                  <a:srgbClr val="808080"/>
                </a:solidFill>
                <a:latin typeface="Arial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6838" y="1951380"/>
            <a:ext cx="5736421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254579"/>
            <a:ext cx="5685618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4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A2896"/>
                  </a:solidFill>
                  <a:latin typeface="Arial"/>
                </a:rPr>
                <a:t>Название документа</a:t>
              </a:r>
            </a:p>
            <a:p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028232" y="667386"/>
            <a:ext cx="622414" cy="191912"/>
            <a:chOff x="8273985" y="285750"/>
            <a:chExt cx="466790" cy="1919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3985" y="285750"/>
              <a:ext cx="466790" cy="1919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ru-RU" sz="1067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3985" y="285750"/>
              <a:ext cx="0" cy="19191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3985" y="477662"/>
              <a:ext cx="46679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23" name="Изображение 10">
            <a:extLst>
              <a:ext uri="{FF2B5EF4-FFF2-40B4-BE49-F238E27FC236}">
                <a16:creationId xmlns:a16="http://schemas.microsoft.com/office/drawing/2014/main" id="{E45AB555-D6ED-4AD4-B929-895DDFCFE949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13" t="20657" r="16398" b="28627"/>
          <a:stretch/>
        </p:blipFill>
        <p:spPr>
          <a:xfrm>
            <a:off x="10781227" y="230189"/>
            <a:ext cx="833438" cy="333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421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</p:sldLayoutIdLst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2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34.xml"/><Relationship Id="rId7" Type="http://schemas.openxmlformats.org/officeDocument/2006/relationships/oleObject" Target="../embeddings/oleObject19.bin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3.png"/><Relationship Id="rId5" Type="http://schemas.openxmlformats.org/officeDocument/2006/relationships/image" Target="../media/image15.jp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40.xml"/><Relationship Id="rId7" Type="http://schemas.openxmlformats.org/officeDocument/2006/relationships/image" Target="../media/image17.jp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3.png"/><Relationship Id="rId5" Type="http://schemas.openxmlformats.org/officeDocument/2006/relationships/image" Target="../media/image16.jfif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20.jpe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9.jpe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6.xml"/><Relationship Id="rId7" Type="http://schemas.openxmlformats.org/officeDocument/2006/relationships/image" Target="../media/image22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1.png"/><Relationship Id="rId5" Type="http://schemas.openxmlformats.org/officeDocument/2006/relationships/image" Target="../media/image13.png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029"/>
            <a:ext cx="11949113" cy="6733504"/>
          </a:xfrm>
          <a:prstGeom prst="rect">
            <a:avLst/>
          </a:prstGeom>
        </p:spPr>
      </p:pic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A7E9AFB6-BDB4-4A3A-AE72-CAEDAF2C8FDF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94832" y="1637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581" name="Слайд think-cell" r:id="rId7" imgW="395" imgH="396" progId="TCLayout.ActiveDocument.1">
                  <p:embed/>
                </p:oleObj>
              </mc:Choice>
              <mc:Fallback>
                <p:oleObj name="Слайд think-cell" r:id="rId7" imgW="395" imgH="39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A7E9AFB6-BDB4-4A3A-AE72-CAEDAF2C8F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4832" y="1637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EAD2048-CCAA-4B64-B307-8CD2D0F65A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493641" y="50"/>
            <a:ext cx="119063" cy="15874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200" b="1" dirty="0">
              <a:solidFill>
                <a:srgbClr val="333333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61" name="Title 1">
            <a:extLst>
              <a:ext uri="{FF2B5EF4-FFF2-40B4-BE49-F238E27FC236}">
                <a16:creationId xmlns:a16="http://schemas.microsoft.com/office/drawing/2014/main" id="{B5B82B39-FA39-4517-A727-7BE6AAEA7F1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67694" y="94652"/>
            <a:ext cx="11337416" cy="276999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r>
              <a:rPr lang="ru-RU" sz="1800" kern="1200" dirty="0">
                <a:solidFill>
                  <a:schemeClr val="tx2">
                    <a:lumMod val="75000"/>
                  </a:schemeClr>
                </a:solidFill>
                <a:latin typeface="Arial" charset="0"/>
                <a:ea typeface="+mn-ea"/>
                <a:cs typeface="+mn-cs"/>
              </a:rPr>
              <a:t>ВТБ Армения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BB8E10D-2EA0-42D9-8D90-DBE131E4DEAA}"/>
              </a:ext>
            </a:extLst>
          </p:cNvPr>
          <p:cNvSpPr txBox="1"/>
          <p:nvPr/>
        </p:nvSpPr>
        <p:spPr>
          <a:xfrm>
            <a:off x="5245433" y="621037"/>
            <a:ext cx="347526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bg1"/>
                </a:solidFill>
                <a:latin typeface="Georgia" panose="02040502050405020303" pitchFamily="18" charset="0"/>
              </a:rPr>
              <a:t>Ценности</a:t>
            </a:r>
          </a:p>
        </p:txBody>
      </p:sp>
      <p:grpSp>
        <p:nvGrpSpPr>
          <p:cNvPr id="63" name="Group 5">
            <a:extLst>
              <a:ext uri="{FF2B5EF4-FFF2-40B4-BE49-F238E27FC236}">
                <a16:creationId xmlns:a16="http://schemas.microsoft.com/office/drawing/2014/main" id="{248B7D0E-879C-4BF2-8A0D-571098ABDAA2}"/>
              </a:ext>
            </a:extLst>
          </p:cNvPr>
          <p:cNvGrpSpPr/>
          <p:nvPr/>
        </p:nvGrpSpPr>
        <p:grpSpPr>
          <a:xfrm rot="10800000">
            <a:off x="161926" y="450570"/>
            <a:ext cx="11393232" cy="581917"/>
            <a:chOff x="7518749" y="1187391"/>
            <a:chExt cx="4338862" cy="506582"/>
          </a:xfrm>
        </p:grpSpPr>
        <p:sp>
          <p:nvSpPr>
            <p:cNvPr id="64" name="Freeform: Shape 6">
              <a:extLst>
                <a:ext uri="{FF2B5EF4-FFF2-40B4-BE49-F238E27FC236}">
                  <a16:creationId xmlns:a16="http://schemas.microsoft.com/office/drawing/2014/main" id="{80CA7EE1-C806-48E4-AB48-03B0FA0558EC}"/>
                </a:ext>
              </a:extLst>
            </p:cNvPr>
            <p:cNvSpPr>
              <a:spLocks/>
            </p:cNvSpPr>
            <p:nvPr/>
          </p:nvSpPr>
          <p:spPr>
            <a:xfrm flipH="1">
              <a:off x="7518749" y="1187392"/>
              <a:ext cx="4198811" cy="506581"/>
            </a:xfrm>
            <a:custGeom>
              <a:avLst/>
              <a:gdLst>
                <a:gd name="connsiteX0" fmla="*/ 311236 w 6224306"/>
                <a:gd name="connsiteY0" fmla="*/ 0 h 622472"/>
                <a:gd name="connsiteX1" fmla="*/ 968865 w 6224306"/>
                <a:gd name="connsiteY1" fmla="*/ 0 h 622472"/>
                <a:gd name="connsiteX2" fmla="*/ 1469856 w 6224306"/>
                <a:gd name="connsiteY2" fmla="*/ 0 h 622472"/>
                <a:gd name="connsiteX3" fmla="*/ 1936731 w 6224306"/>
                <a:gd name="connsiteY3" fmla="*/ 0 h 622472"/>
                <a:gd name="connsiteX4" fmla="*/ 2127485 w 6224306"/>
                <a:gd name="connsiteY4" fmla="*/ 0 h 622472"/>
                <a:gd name="connsiteX5" fmla="*/ 2581960 w 6224306"/>
                <a:gd name="connsiteY5" fmla="*/ 0 h 622472"/>
                <a:gd name="connsiteX6" fmla="*/ 3095351 w 6224306"/>
                <a:gd name="connsiteY6" fmla="*/ 0 h 622472"/>
                <a:gd name="connsiteX7" fmla="*/ 3740580 w 6224306"/>
                <a:gd name="connsiteY7" fmla="*/ 0 h 622472"/>
                <a:gd name="connsiteX8" fmla="*/ 4050345 w 6224306"/>
                <a:gd name="connsiteY8" fmla="*/ 0 h 622472"/>
                <a:gd name="connsiteX9" fmla="*/ 5065686 w 6224306"/>
                <a:gd name="connsiteY9" fmla="*/ 0 h 622472"/>
                <a:gd name="connsiteX10" fmla="*/ 5208965 w 6224306"/>
                <a:gd name="connsiteY10" fmla="*/ 0 h 622472"/>
                <a:gd name="connsiteX11" fmla="*/ 6224306 w 6224306"/>
                <a:gd name="connsiteY11" fmla="*/ 0 h 622472"/>
                <a:gd name="connsiteX12" fmla="*/ 6000428 w 6224306"/>
                <a:gd name="connsiteY12" fmla="*/ 622472 h 622472"/>
                <a:gd name="connsiteX13" fmla="*/ 4985087 w 6224306"/>
                <a:gd name="connsiteY13" fmla="*/ 622472 h 622472"/>
                <a:gd name="connsiteX14" fmla="*/ 4841808 w 6224306"/>
                <a:gd name="connsiteY14" fmla="*/ 622472 h 622472"/>
                <a:gd name="connsiteX15" fmla="*/ 3826467 w 6224306"/>
                <a:gd name="connsiteY15" fmla="*/ 622472 h 622472"/>
                <a:gd name="connsiteX16" fmla="*/ 3516702 w 6224306"/>
                <a:gd name="connsiteY16" fmla="*/ 622472 h 622472"/>
                <a:gd name="connsiteX17" fmla="*/ 3095351 w 6224306"/>
                <a:gd name="connsiteY17" fmla="*/ 622472 h 622472"/>
                <a:gd name="connsiteX18" fmla="*/ 2358082 w 6224306"/>
                <a:gd name="connsiteY18" fmla="*/ 622472 h 622472"/>
                <a:gd name="connsiteX19" fmla="*/ 1936731 w 6224306"/>
                <a:gd name="connsiteY19" fmla="*/ 622472 h 622472"/>
                <a:gd name="connsiteX20" fmla="*/ 1903607 w 6224306"/>
                <a:gd name="connsiteY20" fmla="*/ 622472 h 622472"/>
                <a:gd name="connsiteX21" fmla="*/ 1469856 w 6224306"/>
                <a:gd name="connsiteY21" fmla="*/ 622472 h 622472"/>
                <a:gd name="connsiteX22" fmla="*/ 744987 w 6224306"/>
                <a:gd name="connsiteY22" fmla="*/ 622472 h 622472"/>
                <a:gd name="connsiteX23" fmla="*/ 311236 w 6224306"/>
                <a:gd name="connsiteY23" fmla="*/ 622472 h 622472"/>
                <a:gd name="connsiteX24" fmla="*/ 0 w 6224306"/>
                <a:gd name="connsiteY24" fmla="*/ 311236 h 622472"/>
                <a:gd name="connsiteX25" fmla="*/ 311236 w 6224306"/>
                <a:gd name="connsiteY25" fmla="*/ 0 h 622472"/>
                <a:gd name="connsiteX0" fmla="*/ 311236 w 6595843"/>
                <a:gd name="connsiteY0" fmla="*/ 0 h 631786"/>
                <a:gd name="connsiteX1" fmla="*/ 968865 w 6595843"/>
                <a:gd name="connsiteY1" fmla="*/ 0 h 631786"/>
                <a:gd name="connsiteX2" fmla="*/ 1469856 w 6595843"/>
                <a:gd name="connsiteY2" fmla="*/ 0 h 631786"/>
                <a:gd name="connsiteX3" fmla="*/ 1936731 w 6595843"/>
                <a:gd name="connsiteY3" fmla="*/ 0 h 631786"/>
                <a:gd name="connsiteX4" fmla="*/ 2127485 w 6595843"/>
                <a:gd name="connsiteY4" fmla="*/ 0 h 631786"/>
                <a:gd name="connsiteX5" fmla="*/ 2581960 w 6595843"/>
                <a:gd name="connsiteY5" fmla="*/ 0 h 631786"/>
                <a:gd name="connsiteX6" fmla="*/ 3095351 w 6595843"/>
                <a:gd name="connsiteY6" fmla="*/ 0 h 631786"/>
                <a:gd name="connsiteX7" fmla="*/ 3740580 w 6595843"/>
                <a:gd name="connsiteY7" fmla="*/ 0 h 631786"/>
                <a:gd name="connsiteX8" fmla="*/ 4050345 w 6595843"/>
                <a:gd name="connsiteY8" fmla="*/ 0 h 631786"/>
                <a:gd name="connsiteX9" fmla="*/ 5065686 w 6595843"/>
                <a:gd name="connsiteY9" fmla="*/ 0 h 631786"/>
                <a:gd name="connsiteX10" fmla="*/ 5208965 w 6595843"/>
                <a:gd name="connsiteY10" fmla="*/ 0 h 631786"/>
                <a:gd name="connsiteX11" fmla="*/ 6224306 w 6595843"/>
                <a:gd name="connsiteY11" fmla="*/ 0 h 631786"/>
                <a:gd name="connsiteX12" fmla="*/ 6595843 w 6595843"/>
                <a:gd name="connsiteY12" fmla="*/ 631786 h 631786"/>
                <a:gd name="connsiteX13" fmla="*/ 4985087 w 6595843"/>
                <a:gd name="connsiteY13" fmla="*/ 622472 h 631786"/>
                <a:gd name="connsiteX14" fmla="*/ 4841808 w 6595843"/>
                <a:gd name="connsiteY14" fmla="*/ 622472 h 631786"/>
                <a:gd name="connsiteX15" fmla="*/ 3826467 w 6595843"/>
                <a:gd name="connsiteY15" fmla="*/ 622472 h 631786"/>
                <a:gd name="connsiteX16" fmla="*/ 3516702 w 6595843"/>
                <a:gd name="connsiteY16" fmla="*/ 622472 h 631786"/>
                <a:gd name="connsiteX17" fmla="*/ 3095351 w 6595843"/>
                <a:gd name="connsiteY17" fmla="*/ 622472 h 631786"/>
                <a:gd name="connsiteX18" fmla="*/ 2358082 w 6595843"/>
                <a:gd name="connsiteY18" fmla="*/ 622472 h 631786"/>
                <a:gd name="connsiteX19" fmla="*/ 1936731 w 6595843"/>
                <a:gd name="connsiteY19" fmla="*/ 622472 h 631786"/>
                <a:gd name="connsiteX20" fmla="*/ 1903607 w 6595843"/>
                <a:gd name="connsiteY20" fmla="*/ 622472 h 631786"/>
                <a:gd name="connsiteX21" fmla="*/ 1469856 w 6595843"/>
                <a:gd name="connsiteY21" fmla="*/ 622472 h 631786"/>
                <a:gd name="connsiteX22" fmla="*/ 744987 w 6595843"/>
                <a:gd name="connsiteY22" fmla="*/ 622472 h 631786"/>
                <a:gd name="connsiteX23" fmla="*/ 311236 w 6595843"/>
                <a:gd name="connsiteY23" fmla="*/ 622472 h 631786"/>
                <a:gd name="connsiteX24" fmla="*/ 0 w 6595843"/>
                <a:gd name="connsiteY24" fmla="*/ 311236 h 631786"/>
                <a:gd name="connsiteX25" fmla="*/ 311236 w 6595843"/>
                <a:gd name="connsiteY25" fmla="*/ 0 h 631786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24306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57587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68916 w 6270827"/>
                <a:gd name="connsiteY0" fmla="*/ 0 h 624801"/>
                <a:gd name="connsiteX1" fmla="*/ 726545 w 6270827"/>
                <a:gd name="connsiteY1" fmla="*/ 0 h 624801"/>
                <a:gd name="connsiteX2" fmla="*/ 1227536 w 6270827"/>
                <a:gd name="connsiteY2" fmla="*/ 0 h 624801"/>
                <a:gd name="connsiteX3" fmla="*/ 1694411 w 6270827"/>
                <a:gd name="connsiteY3" fmla="*/ 0 h 624801"/>
                <a:gd name="connsiteX4" fmla="*/ 1885165 w 6270827"/>
                <a:gd name="connsiteY4" fmla="*/ 0 h 624801"/>
                <a:gd name="connsiteX5" fmla="*/ 2339640 w 6270827"/>
                <a:gd name="connsiteY5" fmla="*/ 0 h 624801"/>
                <a:gd name="connsiteX6" fmla="*/ 2853031 w 6270827"/>
                <a:gd name="connsiteY6" fmla="*/ 0 h 624801"/>
                <a:gd name="connsiteX7" fmla="*/ 3498260 w 6270827"/>
                <a:gd name="connsiteY7" fmla="*/ 0 h 624801"/>
                <a:gd name="connsiteX8" fmla="*/ 3808025 w 6270827"/>
                <a:gd name="connsiteY8" fmla="*/ 0 h 624801"/>
                <a:gd name="connsiteX9" fmla="*/ 4823366 w 6270827"/>
                <a:gd name="connsiteY9" fmla="*/ 0 h 624801"/>
                <a:gd name="connsiteX10" fmla="*/ 4966645 w 6270827"/>
                <a:gd name="connsiteY10" fmla="*/ 0 h 624801"/>
                <a:gd name="connsiteX11" fmla="*/ 6015267 w 6270827"/>
                <a:gd name="connsiteY11" fmla="*/ 0 h 624801"/>
                <a:gd name="connsiteX12" fmla="*/ 6270827 w 6270827"/>
                <a:gd name="connsiteY12" fmla="*/ 624801 h 624801"/>
                <a:gd name="connsiteX13" fmla="*/ 4742767 w 6270827"/>
                <a:gd name="connsiteY13" fmla="*/ 622472 h 624801"/>
                <a:gd name="connsiteX14" fmla="*/ 4599488 w 6270827"/>
                <a:gd name="connsiteY14" fmla="*/ 622472 h 624801"/>
                <a:gd name="connsiteX15" fmla="*/ 3584147 w 6270827"/>
                <a:gd name="connsiteY15" fmla="*/ 622472 h 624801"/>
                <a:gd name="connsiteX16" fmla="*/ 3274382 w 6270827"/>
                <a:gd name="connsiteY16" fmla="*/ 622472 h 624801"/>
                <a:gd name="connsiteX17" fmla="*/ 2853031 w 6270827"/>
                <a:gd name="connsiteY17" fmla="*/ 622472 h 624801"/>
                <a:gd name="connsiteX18" fmla="*/ 2115762 w 6270827"/>
                <a:gd name="connsiteY18" fmla="*/ 622472 h 624801"/>
                <a:gd name="connsiteX19" fmla="*/ 1694411 w 6270827"/>
                <a:gd name="connsiteY19" fmla="*/ 622472 h 624801"/>
                <a:gd name="connsiteX20" fmla="*/ 1661287 w 6270827"/>
                <a:gd name="connsiteY20" fmla="*/ 622472 h 624801"/>
                <a:gd name="connsiteX21" fmla="*/ 1227536 w 6270827"/>
                <a:gd name="connsiteY21" fmla="*/ 622472 h 624801"/>
                <a:gd name="connsiteX22" fmla="*/ 502667 w 6270827"/>
                <a:gd name="connsiteY22" fmla="*/ 622472 h 624801"/>
                <a:gd name="connsiteX23" fmla="*/ 68916 w 6270827"/>
                <a:gd name="connsiteY23" fmla="*/ 622472 h 624801"/>
                <a:gd name="connsiteX24" fmla="*/ 68916 w 6270827"/>
                <a:gd name="connsiteY24" fmla="*/ 0 h 62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70827" h="624801">
                  <a:moveTo>
                    <a:pt x="68916" y="0"/>
                  </a:moveTo>
                  <a:lnTo>
                    <a:pt x="726545" y="0"/>
                  </a:lnTo>
                  <a:lnTo>
                    <a:pt x="1227536" y="0"/>
                  </a:lnTo>
                  <a:lnTo>
                    <a:pt x="1694411" y="0"/>
                  </a:lnTo>
                  <a:lnTo>
                    <a:pt x="1885165" y="0"/>
                  </a:lnTo>
                  <a:lnTo>
                    <a:pt x="2339640" y="0"/>
                  </a:lnTo>
                  <a:lnTo>
                    <a:pt x="2853031" y="0"/>
                  </a:lnTo>
                  <a:lnTo>
                    <a:pt x="3498260" y="0"/>
                  </a:lnTo>
                  <a:lnTo>
                    <a:pt x="3808025" y="0"/>
                  </a:lnTo>
                  <a:lnTo>
                    <a:pt x="4823366" y="0"/>
                  </a:lnTo>
                  <a:lnTo>
                    <a:pt x="4966645" y="0"/>
                  </a:lnTo>
                  <a:lnTo>
                    <a:pt x="6015267" y="0"/>
                  </a:lnTo>
                  <a:lnTo>
                    <a:pt x="6270827" y="624801"/>
                  </a:lnTo>
                  <a:lnTo>
                    <a:pt x="4742767" y="622472"/>
                  </a:lnTo>
                  <a:lnTo>
                    <a:pt x="4599488" y="622472"/>
                  </a:lnTo>
                  <a:lnTo>
                    <a:pt x="3584147" y="622472"/>
                  </a:lnTo>
                  <a:lnTo>
                    <a:pt x="3274382" y="622472"/>
                  </a:lnTo>
                  <a:lnTo>
                    <a:pt x="2853031" y="622472"/>
                  </a:lnTo>
                  <a:lnTo>
                    <a:pt x="2115762" y="622472"/>
                  </a:lnTo>
                  <a:lnTo>
                    <a:pt x="1694411" y="622472"/>
                  </a:lnTo>
                  <a:lnTo>
                    <a:pt x="1661287" y="622472"/>
                  </a:lnTo>
                  <a:lnTo>
                    <a:pt x="1227536" y="622472"/>
                  </a:lnTo>
                  <a:lnTo>
                    <a:pt x="502667" y="622472"/>
                  </a:lnTo>
                  <a:lnTo>
                    <a:pt x="68916" y="622472"/>
                  </a:lnTo>
                  <a:cubicBezTo>
                    <a:pt x="-3376" y="518727"/>
                    <a:pt x="-40689" y="103745"/>
                    <a:pt x="68916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65" name="Freeform: Shape 7">
              <a:extLst>
                <a:ext uri="{FF2B5EF4-FFF2-40B4-BE49-F238E27FC236}">
                  <a16:creationId xmlns:a16="http://schemas.microsoft.com/office/drawing/2014/main" id="{940CCDBC-2F25-443B-B0FD-C3012DC69D19}"/>
                </a:ext>
              </a:extLst>
            </p:cNvPr>
            <p:cNvSpPr/>
            <p:nvPr/>
          </p:nvSpPr>
          <p:spPr>
            <a:xfrm flipH="1">
              <a:off x="11375625" y="1187391"/>
              <a:ext cx="481986" cy="503406"/>
            </a:xfrm>
            <a:custGeom>
              <a:avLst/>
              <a:gdLst>
                <a:gd name="connsiteX0" fmla="*/ 197679 w 481986"/>
                <a:gd name="connsiteY0" fmla="*/ 0 h 503406"/>
                <a:gd name="connsiteX1" fmla="*/ 481986 w 481986"/>
                <a:gd name="connsiteY1" fmla="*/ 0 h 503406"/>
                <a:gd name="connsiteX2" fmla="*/ 481986 w 481986"/>
                <a:gd name="connsiteY2" fmla="*/ 503406 h 503406"/>
                <a:gd name="connsiteX3" fmla="*/ 473173 w 481986"/>
                <a:gd name="connsiteY3" fmla="*/ 503406 h 503406"/>
                <a:gd name="connsiteX4" fmla="*/ 197679 w 481986"/>
                <a:gd name="connsiteY4" fmla="*/ 503406 h 503406"/>
                <a:gd name="connsiteX5" fmla="*/ 0 w 481986"/>
                <a:gd name="connsiteY5" fmla="*/ 251703 h 503406"/>
                <a:gd name="connsiteX6" fmla="*/ 197679 w 481986"/>
                <a:gd name="connsiteY6" fmla="*/ 0 h 50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986" h="503406">
                  <a:moveTo>
                    <a:pt x="197679" y="0"/>
                  </a:moveTo>
                  <a:lnTo>
                    <a:pt x="481986" y="0"/>
                  </a:lnTo>
                  <a:lnTo>
                    <a:pt x="481986" y="503406"/>
                  </a:lnTo>
                  <a:lnTo>
                    <a:pt x="473173" y="503406"/>
                  </a:lnTo>
                  <a:lnTo>
                    <a:pt x="197679" y="503406"/>
                  </a:lnTo>
                  <a:cubicBezTo>
                    <a:pt x="88504" y="503406"/>
                    <a:pt x="0" y="390715"/>
                    <a:pt x="0" y="251703"/>
                  </a:cubicBezTo>
                  <a:cubicBezTo>
                    <a:pt x="0" y="112691"/>
                    <a:pt x="88504" y="0"/>
                    <a:pt x="197679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DF04EA77-8A4A-4C56-B8E5-1A17093A4B8A}"/>
              </a:ext>
            </a:extLst>
          </p:cNvPr>
          <p:cNvSpPr txBox="1"/>
          <p:nvPr/>
        </p:nvSpPr>
        <p:spPr>
          <a:xfrm>
            <a:off x="161925" y="537473"/>
            <a:ext cx="11386229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119386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258246" lvl="1" indent="-256130" defTabSz="1193860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</a:defRPr>
            </a:lvl2pPr>
            <a:lvl3pPr marL="609630" lvl="2" indent="-349268" defTabSz="119386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819192" lvl="3" indent="-207444" defTabSz="119386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baseline="0">
                <a:latin typeface="+mn-lt"/>
              </a:defRPr>
            </a:lvl4pPr>
            <a:lvl5pPr marL="999794" lvl="4" indent="-173575" defTabSz="119386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algn="ctr"/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  <a:cs typeface="Estrangelo Edessa" panose="03080600000000000000" pitchFamily="66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  <a:cs typeface="Estrangelo Edessa" panose="03080600000000000000" pitchFamily="66" charset="0"/>
              </a:rPr>
              <a:t>Тендер с целью выбора компании для организации 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  <a:cs typeface="Estrangelo Edessa" panose="03080600000000000000" pitchFamily="66" charset="0"/>
              </a:rPr>
              <a:t>работ по переезду в новое здание по адресу </a:t>
            </a:r>
            <a:r>
              <a:rPr lang="ru-RU" sz="1200" b="1" dirty="0" err="1" smtClean="0">
                <a:solidFill>
                  <a:schemeClr val="bg1"/>
                </a:solidFill>
                <a:latin typeface="Georgia" panose="02040502050405020303" pitchFamily="18" charset="0"/>
                <a:cs typeface="Estrangelo Edessa" panose="03080600000000000000" pitchFamily="66" charset="0"/>
              </a:rPr>
              <a:t>Манандяна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  <a:cs typeface="Estrangelo Edessa" panose="03080600000000000000" pitchFamily="66" charset="0"/>
              </a:rPr>
              <a:t> 33/3</a:t>
            </a:r>
            <a:endParaRPr lang="en-US" sz="1200" b="1" dirty="0" smtClean="0">
              <a:solidFill>
                <a:schemeClr val="bg1"/>
              </a:solidFill>
              <a:latin typeface="Georgia" panose="02040502050405020303" pitchFamily="18" charset="0"/>
              <a:cs typeface="Estrangelo Edessa" panose="03080600000000000000" pitchFamily="66" charset="0"/>
            </a:endParaRPr>
          </a:p>
          <a:p>
            <a:pPr algn="ctr"/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  <a:cs typeface="Estrangelo Edessa" panose="03080600000000000000" pitchFamily="66" charset="0"/>
              </a:rPr>
              <a:t> Մանանդյան 33/3 հասցեում գտնվող նոր շենք տեղափոխվելու նպատակով աշխատանքների իրականացման համար կազմակերպություն ընտրելու մրցույթ</a:t>
            </a:r>
            <a:endParaRPr lang="ru-RU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1032340" name="Picture 1" descr="VTB_logo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0283" y="32101"/>
            <a:ext cx="904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088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046571" y="2889068"/>
            <a:ext cx="32820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ENTRAL BANK OF ARMENI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870371" y="2914650"/>
            <a:ext cx="35341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TB BANK VIP BRANCH YEREVA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86378" y="5523402"/>
            <a:ext cx="35341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VTB BANK VIP BRANCH YEREVA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022772" y="5569710"/>
            <a:ext cx="2971896" cy="342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CONVERSE BANK YEREVAN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130629" y="765885"/>
            <a:ext cx="5691051" cy="576284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Перевозка грузов, а также предоставление рабочей силы</a:t>
            </a:r>
            <a:endParaRPr lang="en-US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hy-AM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Բեռների տեղափոխում և բանվորական ուժի  տրամադրում</a:t>
            </a:r>
            <a:endParaRPr lang="en-US" sz="1200" b="1" dirty="0" err="1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6" name="Round Diagonal Corner Rectangle 35"/>
          <p:cNvSpPr/>
          <p:nvPr/>
        </p:nvSpPr>
        <p:spPr>
          <a:xfrm>
            <a:off x="130629" y="1752686"/>
            <a:ext cx="5691051" cy="3389944"/>
          </a:xfrm>
          <a:prstGeom prst="round2Diag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Перевозка офисной мебели (стол, стул, шкаф,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тумбочка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компьютерной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техники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сотрудников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и т.п.) из здания </a:t>
            </a:r>
            <a:r>
              <a:rPr lang="ru-RU" sz="1200" b="1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35;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/Մոսկովյան 35 հասցեից </a:t>
            </a:r>
            <a:r>
              <a:rPr lang="hy-AM" sz="1200" b="1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օֆիսային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կահույքի</a:t>
            </a:r>
            <a:r>
              <a:rPr lang="en-US" sz="1200" b="1" dirty="0" smtClean="0">
                <a:solidFill>
                  <a:schemeClr val="bg1"/>
                </a:solidFill>
                <a:latin typeface="Arial Armenian" panose="020B0604020202020204" pitchFamily="34" charset="0"/>
              </a:rPr>
              <a:t> (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սեղան, աթոռ, պահարան, 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գզրոց, աշխատակիցների 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համակարգչային </a:t>
            </a:r>
            <a:r>
              <a:rPr lang="hy-AM" sz="1200" b="1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տեխնիկաները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և այլն</a:t>
            </a:r>
            <a:r>
              <a:rPr lang="en-US" sz="1200" b="1" dirty="0" smtClean="0">
                <a:solidFill>
                  <a:schemeClr val="bg1"/>
                </a:solidFill>
                <a:latin typeface="Arial Armenian" panose="020B0604020202020204" pitchFamily="34" charset="0"/>
              </a:rPr>
              <a:t>)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տեղափոխում</a:t>
            </a:r>
            <a:r>
              <a:rPr lang="en-US" sz="1200" b="1" dirty="0" smtClean="0">
                <a:solidFill>
                  <a:schemeClr val="bg1"/>
                </a:solidFill>
                <a:latin typeface="Arial Armenian" panose="020B0604020202020204" pitchFamily="34" charset="0"/>
              </a:rPr>
              <a:t>;</a:t>
            </a: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ru-RU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Перевозка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стеллажей, 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металлических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шкафов из 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здания </a:t>
            </a:r>
            <a:r>
              <a:rPr lang="ru-RU" sz="12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35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/ Մոսկովյան 35 հասցեից մետաղական պահարանների և </a:t>
            </a:r>
            <a:r>
              <a:rPr lang="hy-AM" sz="1200" b="1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դարակաշարերի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տեղափոխում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;</a:t>
            </a:r>
            <a:endParaRPr lang="en-US" sz="1200" b="1" dirty="0" smtClean="0">
              <a:solidFill>
                <a:schemeClr val="bg1"/>
              </a:solidFill>
              <a:latin typeface="Arial Armenian" panose="020B0604020202020204" pitchFamily="34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ru-RU" sz="1200" b="1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Перевозка сейфов 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из здания </a:t>
            </a:r>
            <a:r>
              <a:rPr lang="ru-RU" sz="1200" b="1" dirty="0" err="1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35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/ Մոսկովյան 35 հասցեից սեյֆերի տեղափոխում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;</a:t>
            </a:r>
            <a:endParaRPr lang="en-US" sz="1200" b="1" dirty="0" smtClean="0">
              <a:solidFill>
                <a:schemeClr val="bg1"/>
              </a:solidFill>
              <a:latin typeface="Arial Armenian" panose="020B0604020202020204" pitchFamily="34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endParaRPr lang="ru-RU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</a:rPr>
              <a:t>Перевозка 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архивных документов из здания </a:t>
            </a:r>
            <a:r>
              <a:rPr lang="ru-RU" sz="1200" b="1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35</a:t>
            </a:r>
            <a:r>
              <a:rPr lang="hy-AM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/ Մոսկովյան 35 հասցեից արխիվային փաստաթղթերի տեղափոխում</a:t>
            </a: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;</a:t>
            </a:r>
            <a:endParaRPr lang="en-US" sz="1200" b="1" dirty="0">
              <a:solidFill>
                <a:schemeClr val="bg1"/>
              </a:solidFill>
              <a:latin typeface="Arial Armenian" panose="020B0604020202020204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3933" y="15553"/>
            <a:ext cx="29170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tx2">
                    <a:lumMod val="75000"/>
                  </a:schemeClr>
                </a:solidFill>
              </a:rPr>
              <a:t>ВТБ Армения</a:t>
            </a:r>
            <a:endParaRPr lang="en-US" sz="18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Down Arrow 42"/>
          <p:cNvSpPr/>
          <p:nvPr/>
        </p:nvSpPr>
        <p:spPr>
          <a:xfrm>
            <a:off x="2720837" y="1426201"/>
            <a:ext cx="119441" cy="268544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1680" y="1868618"/>
            <a:ext cx="6107296" cy="3158079"/>
          </a:xfrm>
          <a:prstGeom prst="rect">
            <a:avLst/>
          </a:prstGeom>
        </p:spPr>
      </p:pic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9331779" y="662493"/>
            <a:ext cx="262168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¡"/>
              <a:defRPr sz="2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2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sz="1200" b="1" dirty="0" err="1">
                <a:solidFill>
                  <a:srgbClr val="003366"/>
                </a:solidFill>
              </a:rPr>
              <a:t>Приложение</a:t>
            </a:r>
            <a:r>
              <a:rPr lang="en-US" sz="1200" b="1" dirty="0">
                <a:solidFill>
                  <a:srgbClr val="003366"/>
                </a:solidFill>
              </a:rPr>
              <a:t> </a:t>
            </a:r>
            <a:r>
              <a:rPr lang="en-US" sz="1200" b="1" dirty="0" smtClean="0">
                <a:solidFill>
                  <a:srgbClr val="003366"/>
                </a:solidFill>
              </a:rPr>
              <a:t>2</a:t>
            </a:r>
          </a:p>
          <a:p>
            <a:pPr algn="r">
              <a:spcBef>
                <a:spcPct val="0"/>
              </a:spcBef>
              <a:buClrTx/>
              <a:buFontTx/>
              <a:buNone/>
            </a:pPr>
            <a:endParaRPr lang="en-US" sz="1200" b="1" dirty="0">
              <a:solidFill>
                <a:srgbClr val="003366"/>
              </a:solidFill>
            </a:endParaRPr>
          </a:p>
          <a:p>
            <a:pPr algn="r">
              <a:spcBef>
                <a:spcPct val="0"/>
              </a:spcBef>
              <a:buClrTx/>
              <a:buFontTx/>
              <a:buNone/>
            </a:pPr>
            <a:endParaRPr lang="en-US" sz="1200" b="1" dirty="0">
              <a:solidFill>
                <a:srgbClr val="003366"/>
              </a:solidFill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9233807" y="961168"/>
            <a:ext cx="269516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¡"/>
              <a:defRPr sz="2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23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accent1"/>
              </a:buClr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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solidFill>
                  <a:srgbClr val="003366"/>
                </a:solidFill>
                <a:latin typeface="Arial Armenian" pitchFamily="34" charset="0"/>
              </a:rPr>
              <a:t> </a:t>
            </a:r>
            <a:r>
              <a:rPr lang="en-US" sz="1200" b="1" dirty="0">
                <a:solidFill>
                  <a:srgbClr val="003366"/>
                </a:solidFill>
                <a:latin typeface="Arial Armenian" pitchFamily="34" charset="0"/>
              </a:rPr>
              <a:t>N____от_______</a:t>
            </a:r>
            <a:r>
              <a:rPr lang="en-US" sz="1200" b="1" dirty="0" smtClean="0">
                <a:solidFill>
                  <a:srgbClr val="003366"/>
                </a:solidFill>
                <a:latin typeface="Arial Armenian" pitchFamily="34" charset="0"/>
              </a:rPr>
              <a:t>20</a:t>
            </a:r>
            <a:r>
              <a:rPr lang="ru-RU" sz="1200" b="1" dirty="0" smtClean="0">
                <a:solidFill>
                  <a:srgbClr val="003366"/>
                </a:solidFill>
                <a:latin typeface="Arial Armenian" pitchFamily="34" charset="0"/>
              </a:rPr>
              <a:t>23</a:t>
            </a:r>
            <a:r>
              <a:rPr lang="en-US" sz="1200" b="1" dirty="0" smtClean="0">
                <a:solidFill>
                  <a:srgbClr val="003366"/>
                </a:solidFill>
                <a:latin typeface="Arial Armenian" pitchFamily="34" charset="0"/>
              </a:rPr>
              <a:t>г</a:t>
            </a:r>
            <a:endParaRPr lang="en-US" sz="1200" b="1" dirty="0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159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2499" y="4194273"/>
            <a:ext cx="3356999" cy="2428741"/>
          </a:xfrm>
          <a:prstGeom prst="rect">
            <a:avLst/>
          </a:prstGeom>
        </p:spPr>
      </p:pic>
      <p:grpSp>
        <p:nvGrpSpPr>
          <p:cNvPr id="27" name="Group 5">
            <a:extLst>
              <a:ext uri="{FF2B5EF4-FFF2-40B4-BE49-F238E27FC236}">
                <a16:creationId xmlns:a16="http://schemas.microsoft.com/office/drawing/2014/main" id="{248B7D0E-879C-4BF2-8A0D-571098ABDAA2}"/>
              </a:ext>
            </a:extLst>
          </p:cNvPr>
          <p:cNvGrpSpPr/>
          <p:nvPr/>
        </p:nvGrpSpPr>
        <p:grpSpPr>
          <a:xfrm rot="10800000">
            <a:off x="266871" y="472940"/>
            <a:ext cx="11436869" cy="454618"/>
            <a:chOff x="7158385" y="1187391"/>
            <a:chExt cx="4699226" cy="506581"/>
          </a:xfrm>
        </p:grpSpPr>
        <p:sp>
          <p:nvSpPr>
            <p:cNvPr id="31" name="Freeform: Shape 7">
              <a:extLst>
                <a:ext uri="{FF2B5EF4-FFF2-40B4-BE49-F238E27FC236}">
                  <a16:creationId xmlns:a16="http://schemas.microsoft.com/office/drawing/2014/main" id="{940CCDBC-2F25-443B-B0FD-C3012DC69D19}"/>
                </a:ext>
              </a:extLst>
            </p:cNvPr>
            <p:cNvSpPr/>
            <p:nvPr/>
          </p:nvSpPr>
          <p:spPr>
            <a:xfrm flipH="1">
              <a:off x="11375625" y="1187391"/>
              <a:ext cx="481986" cy="503406"/>
            </a:xfrm>
            <a:custGeom>
              <a:avLst/>
              <a:gdLst>
                <a:gd name="connsiteX0" fmla="*/ 197679 w 481986"/>
                <a:gd name="connsiteY0" fmla="*/ 0 h 503406"/>
                <a:gd name="connsiteX1" fmla="*/ 481986 w 481986"/>
                <a:gd name="connsiteY1" fmla="*/ 0 h 503406"/>
                <a:gd name="connsiteX2" fmla="*/ 481986 w 481986"/>
                <a:gd name="connsiteY2" fmla="*/ 503406 h 503406"/>
                <a:gd name="connsiteX3" fmla="*/ 473173 w 481986"/>
                <a:gd name="connsiteY3" fmla="*/ 503406 h 503406"/>
                <a:gd name="connsiteX4" fmla="*/ 197679 w 481986"/>
                <a:gd name="connsiteY4" fmla="*/ 503406 h 503406"/>
                <a:gd name="connsiteX5" fmla="*/ 0 w 481986"/>
                <a:gd name="connsiteY5" fmla="*/ 251703 h 503406"/>
                <a:gd name="connsiteX6" fmla="*/ 197679 w 481986"/>
                <a:gd name="connsiteY6" fmla="*/ 0 h 50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986" h="503406">
                  <a:moveTo>
                    <a:pt x="197679" y="0"/>
                  </a:moveTo>
                  <a:lnTo>
                    <a:pt x="481986" y="0"/>
                  </a:lnTo>
                  <a:lnTo>
                    <a:pt x="481986" y="503406"/>
                  </a:lnTo>
                  <a:lnTo>
                    <a:pt x="473173" y="503406"/>
                  </a:lnTo>
                  <a:lnTo>
                    <a:pt x="197679" y="503406"/>
                  </a:lnTo>
                  <a:cubicBezTo>
                    <a:pt x="88504" y="503406"/>
                    <a:pt x="0" y="390715"/>
                    <a:pt x="0" y="251703"/>
                  </a:cubicBezTo>
                  <a:cubicBezTo>
                    <a:pt x="0" y="112691"/>
                    <a:pt x="88504" y="0"/>
                    <a:pt x="197679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: Shape 6">
              <a:extLst>
                <a:ext uri="{FF2B5EF4-FFF2-40B4-BE49-F238E27FC236}">
                  <a16:creationId xmlns:a16="http://schemas.microsoft.com/office/drawing/2014/main" id="{80CA7EE1-C806-48E4-AB48-03B0FA0558EC}"/>
                </a:ext>
              </a:extLst>
            </p:cNvPr>
            <p:cNvSpPr>
              <a:spLocks/>
            </p:cNvSpPr>
            <p:nvPr/>
          </p:nvSpPr>
          <p:spPr>
            <a:xfrm flipH="1">
              <a:off x="7158385" y="1187391"/>
              <a:ext cx="4559175" cy="506581"/>
            </a:xfrm>
            <a:custGeom>
              <a:avLst/>
              <a:gdLst>
                <a:gd name="connsiteX0" fmla="*/ 311236 w 6224306"/>
                <a:gd name="connsiteY0" fmla="*/ 0 h 622472"/>
                <a:gd name="connsiteX1" fmla="*/ 968865 w 6224306"/>
                <a:gd name="connsiteY1" fmla="*/ 0 h 622472"/>
                <a:gd name="connsiteX2" fmla="*/ 1469856 w 6224306"/>
                <a:gd name="connsiteY2" fmla="*/ 0 h 622472"/>
                <a:gd name="connsiteX3" fmla="*/ 1936731 w 6224306"/>
                <a:gd name="connsiteY3" fmla="*/ 0 h 622472"/>
                <a:gd name="connsiteX4" fmla="*/ 2127485 w 6224306"/>
                <a:gd name="connsiteY4" fmla="*/ 0 h 622472"/>
                <a:gd name="connsiteX5" fmla="*/ 2581960 w 6224306"/>
                <a:gd name="connsiteY5" fmla="*/ 0 h 622472"/>
                <a:gd name="connsiteX6" fmla="*/ 3095351 w 6224306"/>
                <a:gd name="connsiteY6" fmla="*/ 0 h 622472"/>
                <a:gd name="connsiteX7" fmla="*/ 3740580 w 6224306"/>
                <a:gd name="connsiteY7" fmla="*/ 0 h 622472"/>
                <a:gd name="connsiteX8" fmla="*/ 4050345 w 6224306"/>
                <a:gd name="connsiteY8" fmla="*/ 0 h 622472"/>
                <a:gd name="connsiteX9" fmla="*/ 5065686 w 6224306"/>
                <a:gd name="connsiteY9" fmla="*/ 0 h 622472"/>
                <a:gd name="connsiteX10" fmla="*/ 5208965 w 6224306"/>
                <a:gd name="connsiteY10" fmla="*/ 0 h 622472"/>
                <a:gd name="connsiteX11" fmla="*/ 6224306 w 6224306"/>
                <a:gd name="connsiteY11" fmla="*/ 0 h 622472"/>
                <a:gd name="connsiteX12" fmla="*/ 6000428 w 6224306"/>
                <a:gd name="connsiteY12" fmla="*/ 622472 h 622472"/>
                <a:gd name="connsiteX13" fmla="*/ 4985087 w 6224306"/>
                <a:gd name="connsiteY13" fmla="*/ 622472 h 622472"/>
                <a:gd name="connsiteX14" fmla="*/ 4841808 w 6224306"/>
                <a:gd name="connsiteY14" fmla="*/ 622472 h 622472"/>
                <a:gd name="connsiteX15" fmla="*/ 3826467 w 6224306"/>
                <a:gd name="connsiteY15" fmla="*/ 622472 h 622472"/>
                <a:gd name="connsiteX16" fmla="*/ 3516702 w 6224306"/>
                <a:gd name="connsiteY16" fmla="*/ 622472 h 622472"/>
                <a:gd name="connsiteX17" fmla="*/ 3095351 w 6224306"/>
                <a:gd name="connsiteY17" fmla="*/ 622472 h 622472"/>
                <a:gd name="connsiteX18" fmla="*/ 2358082 w 6224306"/>
                <a:gd name="connsiteY18" fmla="*/ 622472 h 622472"/>
                <a:gd name="connsiteX19" fmla="*/ 1936731 w 6224306"/>
                <a:gd name="connsiteY19" fmla="*/ 622472 h 622472"/>
                <a:gd name="connsiteX20" fmla="*/ 1903607 w 6224306"/>
                <a:gd name="connsiteY20" fmla="*/ 622472 h 622472"/>
                <a:gd name="connsiteX21" fmla="*/ 1469856 w 6224306"/>
                <a:gd name="connsiteY21" fmla="*/ 622472 h 622472"/>
                <a:gd name="connsiteX22" fmla="*/ 744987 w 6224306"/>
                <a:gd name="connsiteY22" fmla="*/ 622472 h 622472"/>
                <a:gd name="connsiteX23" fmla="*/ 311236 w 6224306"/>
                <a:gd name="connsiteY23" fmla="*/ 622472 h 622472"/>
                <a:gd name="connsiteX24" fmla="*/ 0 w 6224306"/>
                <a:gd name="connsiteY24" fmla="*/ 311236 h 622472"/>
                <a:gd name="connsiteX25" fmla="*/ 311236 w 6224306"/>
                <a:gd name="connsiteY25" fmla="*/ 0 h 622472"/>
                <a:gd name="connsiteX0" fmla="*/ 311236 w 6595843"/>
                <a:gd name="connsiteY0" fmla="*/ 0 h 631786"/>
                <a:gd name="connsiteX1" fmla="*/ 968865 w 6595843"/>
                <a:gd name="connsiteY1" fmla="*/ 0 h 631786"/>
                <a:gd name="connsiteX2" fmla="*/ 1469856 w 6595843"/>
                <a:gd name="connsiteY2" fmla="*/ 0 h 631786"/>
                <a:gd name="connsiteX3" fmla="*/ 1936731 w 6595843"/>
                <a:gd name="connsiteY3" fmla="*/ 0 h 631786"/>
                <a:gd name="connsiteX4" fmla="*/ 2127485 w 6595843"/>
                <a:gd name="connsiteY4" fmla="*/ 0 h 631786"/>
                <a:gd name="connsiteX5" fmla="*/ 2581960 w 6595843"/>
                <a:gd name="connsiteY5" fmla="*/ 0 h 631786"/>
                <a:gd name="connsiteX6" fmla="*/ 3095351 w 6595843"/>
                <a:gd name="connsiteY6" fmla="*/ 0 h 631786"/>
                <a:gd name="connsiteX7" fmla="*/ 3740580 w 6595843"/>
                <a:gd name="connsiteY7" fmla="*/ 0 h 631786"/>
                <a:gd name="connsiteX8" fmla="*/ 4050345 w 6595843"/>
                <a:gd name="connsiteY8" fmla="*/ 0 h 631786"/>
                <a:gd name="connsiteX9" fmla="*/ 5065686 w 6595843"/>
                <a:gd name="connsiteY9" fmla="*/ 0 h 631786"/>
                <a:gd name="connsiteX10" fmla="*/ 5208965 w 6595843"/>
                <a:gd name="connsiteY10" fmla="*/ 0 h 631786"/>
                <a:gd name="connsiteX11" fmla="*/ 6224306 w 6595843"/>
                <a:gd name="connsiteY11" fmla="*/ 0 h 631786"/>
                <a:gd name="connsiteX12" fmla="*/ 6595843 w 6595843"/>
                <a:gd name="connsiteY12" fmla="*/ 631786 h 631786"/>
                <a:gd name="connsiteX13" fmla="*/ 4985087 w 6595843"/>
                <a:gd name="connsiteY13" fmla="*/ 622472 h 631786"/>
                <a:gd name="connsiteX14" fmla="*/ 4841808 w 6595843"/>
                <a:gd name="connsiteY14" fmla="*/ 622472 h 631786"/>
                <a:gd name="connsiteX15" fmla="*/ 3826467 w 6595843"/>
                <a:gd name="connsiteY15" fmla="*/ 622472 h 631786"/>
                <a:gd name="connsiteX16" fmla="*/ 3516702 w 6595843"/>
                <a:gd name="connsiteY16" fmla="*/ 622472 h 631786"/>
                <a:gd name="connsiteX17" fmla="*/ 3095351 w 6595843"/>
                <a:gd name="connsiteY17" fmla="*/ 622472 h 631786"/>
                <a:gd name="connsiteX18" fmla="*/ 2358082 w 6595843"/>
                <a:gd name="connsiteY18" fmla="*/ 622472 h 631786"/>
                <a:gd name="connsiteX19" fmla="*/ 1936731 w 6595843"/>
                <a:gd name="connsiteY19" fmla="*/ 622472 h 631786"/>
                <a:gd name="connsiteX20" fmla="*/ 1903607 w 6595843"/>
                <a:gd name="connsiteY20" fmla="*/ 622472 h 631786"/>
                <a:gd name="connsiteX21" fmla="*/ 1469856 w 6595843"/>
                <a:gd name="connsiteY21" fmla="*/ 622472 h 631786"/>
                <a:gd name="connsiteX22" fmla="*/ 744987 w 6595843"/>
                <a:gd name="connsiteY22" fmla="*/ 622472 h 631786"/>
                <a:gd name="connsiteX23" fmla="*/ 311236 w 6595843"/>
                <a:gd name="connsiteY23" fmla="*/ 622472 h 631786"/>
                <a:gd name="connsiteX24" fmla="*/ 0 w 6595843"/>
                <a:gd name="connsiteY24" fmla="*/ 311236 h 631786"/>
                <a:gd name="connsiteX25" fmla="*/ 311236 w 6595843"/>
                <a:gd name="connsiteY25" fmla="*/ 0 h 631786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24306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57587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68916 w 6270827"/>
                <a:gd name="connsiteY0" fmla="*/ 0 h 624801"/>
                <a:gd name="connsiteX1" fmla="*/ 726545 w 6270827"/>
                <a:gd name="connsiteY1" fmla="*/ 0 h 624801"/>
                <a:gd name="connsiteX2" fmla="*/ 1227536 w 6270827"/>
                <a:gd name="connsiteY2" fmla="*/ 0 h 624801"/>
                <a:gd name="connsiteX3" fmla="*/ 1694411 w 6270827"/>
                <a:gd name="connsiteY3" fmla="*/ 0 h 624801"/>
                <a:gd name="connsiteX4" fmla="*/ 1885165 w 6270827"/>
                <a:gd name="connsiteY4" fmla="*/ 0 h 624801"/>
                <a:gd name="connsiteX5" fmla="*/ 2339640 w 6270827"/>
                <a:gd name="connsiteY5" fmla="*/ 0 h 624801"/>
                <a:gd name="connsiteX6" fmla="*/ 2853031 w 6270827"/>
                <a:gd name="connsiteY6" fmla="*/ 0 h 624801"/>
                <a:gd name="connsiteX7" fmla="*/ 3498260 w 6270827"/>
                <a:gd name="connsiteY7" fmla="*/ 0 h 624801"/>
                <a:gd name="connsiteX8" fmla="*/ 3808025 w 6270827"/>
                <a:gd name="connsiteY8" fmla="*/ 0 h 624801"/>
                <a:gd name="connsiteX9" fmla="*/ 4823366 w 6270827"/>
                <a:gd name="connsiteY9" fmla="*/ 0 h 624801"/>
                <a:gd name="connsiteX10" fmla="*/ 4966645 w 6270827"/>
                <a:gd name="connsiteY10" fmla="*/ 0 h 624801"/>
                <a:gd name="connsiteX11" fmla="*/ 6015267 w 6270827"/>
                <a:gd name="connsiteY11" fmla="*/ 0 h 624801"/>
                <a:gd name="connsiteX12" fmla="*/ 6270827 w 6270827"/>
                <a:gd name="connsiteY12" fmla="*/ 624801 h 624801"/>
                <a:gd name="connsiteX13" fmla="*/ 4742767 w 6270827"/>
                <a:gd name="connsiteY13" fmla="*/ 622472 h 624801"/>
                <a:gd name="connsiteX14" fmla="*/ 4599488 w 6270827"/>
                <a:gd name="connsiteY14" fmla="*/ 622472 h 624801"/>
                <a:gd name="connsiteX15" fmla="*/ 3584147 w 6270827"/>
                <a:gd name="connsiteY15" fmla="*/ 622472 h 624801"/>
                <a:gd name="connsiteX16" fmla="*/ 3274382 w 6270827"/>
                <a:gd name="connsiteY16" fmla="*/ 622472 h 624801"/>
                <a:gd name="connsiteX17" fmla="*/ 2853031 w 6270827"/>
                <a:gd name="connsiteY17" fmla="*/ 622472 h 624801"/>
                <a:gd name="connsiteX18" fmla="*/ 2115762 w 6270827"/>
                <a:gd name="connsiteY18" fmla="*/ 622472 h 624801"/>
                <a:gd name="connsiteX19" fmla="*/ 1694411 w 6270827"/>
                <a:gd name="connsiteY19" fmla="*/ 622472 h 624801"/>
                <a:gd name="connsiteX20" fmla="*/ 1661287 w 6270827"/>
                <a:gd name="connsiteY20" fmla="*/ 622472 h 624801"/>
                <a:gd name="connsiteX21" fmla="*/ 1227536 w 6270827"/>
                <a:gd name="connsiteY21" fmla="*/ 622472 h 624801"/>
                <a:gd name="connsiteX22" fmla="*/ 502667 w 6270827"/>
                <a:gd name="connsiteY22" fmla="*/ 622472 h 624801"/>
                <a:gd name="connsiteX23" fmla="*/ 68916 w 6270827"/>
                <a:gd name="connsiteY23" fmla="*/ 622472 h 624801"/>
                <a:gd name="connsiteX24" fmla="*/ 68916 w 6270827"/>
                <a:gd name="connsiteY24" fmla="*/ 0 h 62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70827" h="624801">
                  <a:moveTo>
                    <a:pt x="68916" y="0"/>
                  </a:moveTo>
                  <a:lnTo>
                    <a:pt x="726545" y="0"/>
                  </a:lnTo>
                  <a:lnTo>
                    <a:pt x="1227536" y="0"/>
                  </a:lnTo>
                  <a:lnTo>
                    <a:pt x="1694411" y="0"/>
                  </a:lnTo>
                  <a:lnTo>
                    <a:pt x="1885165" y="0"/>
                  </a:lnTo>
                  <a:lnTo>
                    <a:pt x="2339640" y="0"/>
                  </a:lnTo>
                  <a:lnTo>
                    <a:pt x="2853031" y="0"/>
                  </a:lnTo>
                  <a:lnTo>
                    <a:pt x="3498260" y="0"/>
                  </a:lnTo>
                  <a:lnTo>
                    <a:pt x="3808025" y="0"/>
                  </a:lnTo>
                  <a:lnTo>
                    <a:pt x="4823366" y="0"/>
                  </a:lnTo>
                  <a:lnTo>
                    <a:pt x="4966645" y="0"/>
                  </a:lnTo>
                  <a:lnTo>
                    <a:pt x="6015267" y="0"/>
                  </a:lnTo>
                  <a:lnTo>
                    <a:pt x="6270827" y="624801"/>
                  </a:lnTo>
                  <a:lnTo>
                    <a:pt x="4742767" y="622472"/>
                  </a:lnTo>
                  <a:lnTo>
                    <a:pt x="4599488" y="622472"/>
                  </a:lnTo>
                  <a:lnTo>
                    <a:pt x="3584147" y="622472"/>
                  </a:lnTo>
                  <a:lnTo>
                    <a:pt x="3274382" y="622472"/>
                  </a:lnTo>
                  <a:lnTo>
                    <a:pt x="2853031" y="622472"/>
                  </a:lnTo>
                  <a:lnTo>
                    <a:pt x="2115762" y="622472"/>
                  </a:lnTo>
                  <a:lnTo>
                    <a:pt x="1694411" y="622472"/>
                  </a:lnTo>
                  <a:lnTo>
                    <a:pt x="1661287" y="622472"/>
                  </a:lnTo>
                  <a:lnTo>
                    <a:pt x="1227536" y="622472"/>
                  </a:lnTo>
                  <a:lnTo>
                    <a:pt x="502667" y="622472"/>
                  </a:lnTo>
                  <a:lnTo>
                    <a:pt x="68916" y="622472"/>
                  </a:lnTo>
                  <a:cubicBezTo>
                    <a:pt x="-3376" y="518727"/>
                    <a:pt x="-40689" y="103745"/>
                    <a:pt x="68916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Title 1"/>
          <p:cNvSpPr txBox="1">
            <a:spLocks/>
          </p:cNvSpPr>
          <p:nvPr/>
        </p:nvSpPr>
        <p:spPr bwMode="auto">
          <a:xfrm>
            <a:off x="-1" y="272904"/>
            <a:ext cx="11949113" cy="742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endParaRPr lang="ru-RU" sz="14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Перевозка офисной мебели (стол, стул, шкаф, тумбочка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компьютерной техники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и т.п.) из здания </a:t>
            </a:r>
            <a:r>
              <a:rPr lang="ru-RU" sz="1200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35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;</a:t>
            </a:r>
          </a:p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Մոսկովյան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35 հասցեից </a:t>
            </a:r>
            <a:r>
              <a:rPr lang="hy-AM" sz="1200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օֆիսային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կահույքի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(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սեղան, աթոռ, պահարան,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գզրոց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,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համակարգչային տեխնիկա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և այլն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)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տեղափոխում</a:t>
            </a: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;</a:t>
            </a:r>
            <a:endParaRPr lang="ru-RU" sz="14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5B82B39-FA39-4517-A727-7BE6AAEA7F1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8" y="99565"/>
            <a:ext cx="1047114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ВТБ </a:t>
            </a:r>
            <a:r>
              <a:rPr lang="ru-RU" sz="1800" dirty="0" smtClean="0"/>
              <a:t>Армения</a:t>
            </a:r>
            <a:endParaRPr lang="ru-RU" sz="1800" dirty="0"/>
          </a:p>
        </p:txBody>
      </p:sp>
      <p:sp>
        <p:nvSpPr>
          <p:cNvPr id="26" name="Slide Number Placeholder 40"/>
          <p:cNvSpPr txBox="1">
            <a:spLocks/>
          </p:cNvSpPr>
          <p:nvPr/>
        </p:nvSpPr>
        <p:spPr>
          <a:xfrm>
            <a:off x="9448800" y="632708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3" name="Rectangle 32"/>
          <p:cNvSpPr/>
          <p:nvPr/>
        </p:nvSpPr>
        <p:spPr>
          <a:xfrm>
            <a:off x="9586497" y="-1"/>
            <a:ext cx="2233880" cy="45686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4" name="Picture 1" descr="VTB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316" y="10651"/>
            <a:ext cx="853303" cy="49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63387" y="1085440"/>
            <a:ext cx="4278083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Рабочая </a:t>
            </a:r>
            <a:r>
              <a:rPr lang="ru-RU" sz="800" dirty="0" smtClean="0">
                <a:solidFill>
                  <a:schemeClr val="dk1"/>
                </a:solidFill>
              </a:rPr>
              <a:t>сил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անվորական ուժ</a:t>
            </a:r>
            <a:endParaRPr lang="ru-RU" sz="800" dirty="0">
              <a:solidFill>
                <a:schemeClr val="dk1"/>
              </a:solidFill>
            </a:endParaRPr>
          </a:p>
        </p:txBody>
      </p:sp>
      <p:graphicFrame>
        <p:nvGraphicFramePr>
          <p:cNvPr id="23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100917"/>
              </p:ext>
            </p:extLst>
          </p:nvPr>
        </p:nvGraphicFramePr>
        <p:xfrm>
          <a:off x="91145" y="4758157"/>
          <a:ext cx="7387341" cy="1365504"/>
        </p:xfrm>
        <a:graphic>
          <a:graphicData uri="http://schemas.openxmlformats.org/drawingml/2006/table">
            <a:tbl>
              <a:tblPr/>
              <a:tblGrid>
                <a:gridCol w="6048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8943">
                  <a:extLst>
                    <a:ext uri="{9D8B030D-6E8A-4147-A177-3AD203B41FA5}">
                      <a16:colId xmlns:a16="http://schemas.microsoft.com/office/drawing/2014/main" val="2955368908"/>
                    </a:ext>
                  </a:extLst>
                </a:gridCol>
              </a:tblGrid>
              <a:tr h="575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Необходимо предоставить стоимость перевозки офисной мебели с грузовой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ашиной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длина 3 м, ширина - 2 м и высота – 1.8 м) </a:t>
                      </a:r>
                      <a:endParaRPr lang="en-US" sz="80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 один выезд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 գրասենյակային </a:t>
                      </a:r>
                      <a:r>
                        <a:rPr lang="hy-AM" sz="800" dirty="0" smtClean="0"/>
                        <a:t>կահույքի</a:t>
                      </a:r>
                      <a:r>
                        <a:rPr lang="en-US" sz="800" dirty="0" smtClean="0"/>
                        <a:t>,</a:t>
                      </a:r>
                      <a:r>
                        <a:rPr lang="hy-AM" sz="800" dirty="0" smtClean="0"/>
                        <a:t>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ru-RU" sz="800" dirty="0" smtClean="0"/>
                        <a:t> (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3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մ, լայնություն – 2մ, բարձրություն – 1.8մ․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Необходимо предоставить стоимость перевозки офисной мебели с грузовой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ашиной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длина 4 м, ширина - 2 м и высота – 1.8 м) </a:t>
                      </a:r>
                      <a:endParaRPr lang="en-US" sz="80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 один выезд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 գրասենյակային կահույքի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ru-RU" sz="800" dirty="0" smtClean="0"/>
                        <a:t>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4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մ, լայնություն – 2մ, բարձրություն – 1.8մ․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4111549"/>
                  </a:ext>
                </a:extLst>
              </a:tr>
            </a:tbl>
          </a:graphicData>
        </a:graphic>
      </p:graphicFrame>
      <p:sp>
        <p:nvSpPr>
          <p:cNvPr id="36" name="Rounded Rectangle 35"/>
          <p:cNvSpPr/>
          <p:nvPr/>
        </p:nvSpPr>
        <p:spPr>
          <a:xfrm>
            <a:off x="6074229" y="1576815"/>
            <a:ext cx="5748372" cy="1993993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Во время перевозки офисной мебели компания должна предоставить транспортное средство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 err="1">
                <a:solidFill>
                  <a:schemeClr val="dk1"/>
                </a:solidFill>
              </a:rPr>
              <a:t>Օֆիսային</a:t>
            </a:r>
            <a:r>
              <a:rPr lang="hy-AM" sz="800" dirty="0">
                <a:solidFill>
                  <a:schemeClr val="dk1"/>
                </a:solidFill>
              </a:rPr>
              <a:t> կահույքի տեղափոխման ժամանակ ընկերությունը պետք է տրամադրի տրանսպորտային միջոց</a:t>
            </a:r>
            <a:r>
              <a:rPr lang="hy-AM" sz="800" dirty="0" smtClean="0">
                <a:solidFill>
                  <a:schemeClr val="dk1"/>
                </a:solidFill>
              </a:rPr>
              <a:t>։</a:t>
            </a:r>
            <a:endParaRPr lang="ru-RU" sz="800" dirty="0" smtClean="0">
              <a:solidFill>
                <a:schemeClr val="dk1"/>
              </a:solidFill>
            </a:endParaRPr>
          </a:p>
          <a:p>
            <a:endParaRPr lang="ru-RU" sz="800" dirty="0"/>
          </a:p>
          <a:p>
            <a:r>
              <a:rPr lang="ru-RU" sz="800" dirty="0" smtClean="0"/>
              <a:t>Количество автомобилей</a:t>
            </a:r>
            <a:r>
              <a:rPr lang="hy-AM" sz="800" dirty="0" smtClean="0"/>
              <a:t> </a:t>
            </a:r>
            <a:r>
              <a:rPr lang="ru-RU" sz="800" dirty="0" smtClean="0"/>
              <a:t>должно быть  5</a:t>
            </a:r>
            <a:r>
              <a:rPr lang="hy-AM" sz="800" dirty="0" smtClean="0"/>
              <a:t> </a:t>
            </a:r>
            <a:r>
              <a:rPr lang="ru-RU" sz="800" dirty="0" smtClean="0"/>
              <a:t>и больше.</a:t>
            </a:r>
            <a:endParaRPr lang="hy-AM" sz="800" dirty="0" smtClean="0"/>
          </a:p>
          <a:p>
            <a:r>
              <a:rPr lang="hy-AM" sz="800" dirty="0">
                <a:latin typeface="Arial Armenian" panose="020B0604020202020204" pitchFamily="34" charset="0"/>
              </a:rPr>
              <a:t>Մեքենաների քանակը</a:t>
            </a:r>
            <a:r>
              <a:rPr lang="ru-RU" sz="800" dirty="0">
                <a:latin typeface="Arial Armenian" panose="020B0604020202020204" pitchFamily="34" charset="0"/>
              </a:rPr>
              <a:t> </a:t>
            </a:r>
            <a:r>
              <a:rPr lang="hy-AM" sz="800" dirty="0">
                <a:latin typeface="Arial Armenian" panose="020B0604020202020204" pitchFamily="34" charset="0"/>
              </a:rPr>
              <a:t>պետք է լինի  5 և ավելին</a:t>
            </a:r>
            <a:endParaRPr lang="en-US" sz="800" dirty="0">
              <a:latin typeface="Arial Armenian" panose="020B0604020202020204" pitchFamily="34" charset="0"/>
            </a:endParaRPr>
          </a:p>
          <a:p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Габариты кузова грузовых автомобилей должны </a:t>
            </a:r>
            <a:r>
              <a:rPr lang="ru-RU" sz="800" dirty="0" smtClean="0">
                <a:solidFill>
                  <a:schemeClr val="dk1"/>
                </a:solidFill>
              </a:rPr>
              <a:t>быть</a:t>
            </a:r>
            <a:r>
              <a:rPr lang="hy-AM" sz="800" dirty="0" smtClean="0">
                <a:solidFill>
                  <a:schemeClr val="dk1"/>
                </a:solidFill>
              </a:rPr>
              <a:t>: </a:t>
            </a:r>
            <a:r>
              <a:rPr lang="ru-RU" sz="800" dirty="0" smtClean="0">
                <a:solidFill>
                  <a:schemeClr val="dk1"/>
                </a:solidFill>
              </a:rPr>
              <a:t>длина 3 - 4 </a:t>
            </a:r>
            <a:r>
              <a:rPr lang="ru-RU" sz="800" dirty="0">
                <a:solidFill>
                  <a:schemeClr val="dk1"/>
                </a:solidFill>
              </a:rPr>
              <a:t>м, ширина - 2 м и высота </a:t>
            </a:r>
            <a:r>
              <a:rPr lang="ru-RU" sz="800" dirty="0" smtClean="0">
                <a:solidFill>
                  <a:schemeClr val="dk1"/>
                </a:solidFill>
              </a:rPr>
              <a:t>– 1.8 </a:t>
            </a:r>
            <a:r>
              <a:rPr lang="ru-RU" sz="800" dirty="0">
                <a:solidFill>
                  <a:schemeClr val="dk1"/>
                </a:solidFill>
              </a:rPr>
              <a:t>м 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Բեռնատար մեքենաների չափսերը պետք է լինեն՝ երկարություն </a:t>
            </a:r>
            <a:r>
              <a:rPr lang="hy-AM" sz="800" dirty="0" smtClean="0">
                <a:solidFill>
                  <a:schemeClr val="dk1"/>
                </a:solidFill>
              </a:rPr>
              <a:t>–3</a:t>
            </a:r>
            <a:r>
              <a:rPr lang="ru-RU" sz="800" dirty="0" smtClean="0">
                <a:solidFill>
                  <a:schemeClr val="dk1"/>
                </a:solidFill>
              </a:rPr>
              <a:t>-4 </a:t>
            </a:r>
            <a:r>
              <a:rPr lang="hy-AM" sz="800" dirty="0" smtClean="0">
                <a:solidFill>
                  <a:schemeClr val="dk1"/>
                </a:solidFill>
              </a:rPr>
              <a:t>մ</a:t>
            </a:r>
            <a:r>
              <a:rPr lang="hy-AM" sz="800" dirty="0">
                <a:solidFill>
                  <a:schemeClr val="dk1"/>
                </a:solidFill>
              </a:rPr>
              <a:t>, լայնություն – 2մ, բարձրություն – </a:t>
            </a:r>
            <a:r>
              <a:rPr lang="hy-AM" sz="800" dirty="0" smtClean="0">
                <a:solidFill>
                  <a:schemeClr val="dk1"/>
                </a:solidFill>
              </a:rPr>
              <a:t>1.8մ</a:t>
            </a:r>
            <a:r>
              <a:rPr lang="hy-AM" sz="800" dirty="0">
                <a:solidFill>
                  <a:schemeClr val="dk1"/>
                </a:solidFill>
              </a:rPr>
              <a:t>․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hy-AM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Транспортное средство должно быть оборудовано специальными креплениями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Տրանսպորտային միջոցը պետք է հագեցած լինի հատուկ </a:t>
            </a:r>
            <a:r>
              <a:rPr lang="hy-AM" sz="800" dirty="0" err="1" smtClean="0">
                <a:solidFill>
                  <a:schemeClr val="dk1"/>
                </a:solidFill>
              </a:rPr>
              <a:t>ամրագոտիներով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ru-RU" sz="800" dirty="0" smtClean="0">
                <a:solidFill>
                  <a:schemeClr val="dk1"/>
                </a:solidFill>
              </a:rPr>
              <a:t>Вид </a:t>
            </a:r>
            <a:r>
              <a:rPr lang="ru-RU" sz="800" dirty="0">
                <a:solidFill>
                  <a:schemeClr val="dk1"/>
                </a:solidFill>
              </a:rPr>
              <a:t>кузова: Тент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Թափքի տեսակ՝ </a:t>
            </a:r>
            <a:r>
              <a:rPr lang="hy-AM" sz="800" dirty="0" err="1" smtClean="0">
                <a:solidFill>
                  <a:schemeClr val="dk1"/>
                </a:solidFill>
              </a:rPr>
              <a:t>տենտ</a:t>
            </a:r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 smtClean="0">
                <a:solidFill>
                  <a:schemeClr val="dk1"/>
                </a:solidFill>
              </a:rPr>
              <a:t>Грузоподъемность:</a:t>
            </a:r>
            <a:r>
              <a:rPr lang="hy-AM" sz="800" dirty="0" smtClean="0">
                <a:solidFill>
                  <a:schemeClr val="dk1"/>
                </a:solidFill>
              </a:rPr>
              <a:t> 1.5 </a:t>
            </a:r>
            <a:r>
              <a:rPr lang="ru-RU" sz="800" dirty="0" smtClean="0">
                <a:solidFill>
                  <a:schemeClr val="dk1"/>
                </a:solidFill>
              </a:rPr>
              <a:t>тонн</a:t>
            </a:r>
            <a:r>
              <a:rPr lang="en-US" sz="800" dirty="0" smtClean="0">
                <a:solidFill>
                  <a:schemeClr val="dk1"/>
                </a:solidFill>
              </a:rPr>
              <a:t> </a:t>
            </a:r>
            <a:r>
              <a:rPr lang="ru-RU" sz="800" dirty="0" smtClean="0">
                <a:solidFill>
                  <a:schemeClr val="dk1"/>
                </a:solidFill>
              </a:rPr>
              <a:t> </a:t>
            </a:r>
            <a:r>
              <a:rPr lang="hy-AM" sz="800" dirty="0" smtClean="0">
                <a:solidFill>
                  <a:schemeClr val="dk1"/>
                </a:solidFill>
              </a:rPr>
              <a:t> </a:t>
            </a:r>
          </a:p>
          <a:p>
            <a:r>
              <a:rPr lang="hy-AM" sz="800" dirty="0" smtClean="0"/>
              <a:t>Բեռնատարողությունը ՝ 1.5 տոննա</a:t>
            </a:r>
            <a:endParaRPr lang="ru-RU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1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348954" y="4190372"/>
            <a:ext cx="2921474" cy="411277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Поля для обязательного заполнения</a:t>
            </a:r>
            <a:endParaRPr lang="en-US" sz="800" dirty="0">
              <a:solidFill>
                <a:schemeClr val="dk1"/>
              </a:solidFill>
            </a:endParaRPr>
          </a:p>
          <a:p>
            <a:pPr algn="ctr"/>
            <a:r>
              <a:rPr lang="hy-AM" sz="800" dirty="0" smtClean="0">
                <a:solidFill>
                  <a:schemeClr val="dk1"/>
                </a:solidFill>
              </a:rPr>
              <a:t>Դաշտեր </a:t>
            </a:r>
            <a:r>
              <a:rPr lang="hy-AM" sz="800" dirty="0">
                <a:solidFill>
                  <a:schemeClr val="dk1"/>
                </a:solidFill>
              </a:rPr>
              <a:t>պարտադիր լրացման համար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91148" y="3722113"/>
            <a:ext cx="5856057" cy="38053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Работы будут выполнятся в рабочие дни с 09:00 до 18:00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Աշխատանքները իրականացվելու են աշխատանքային օրերին 09:00</a:t>
            </a:r>
            <a:r>
              <a:rPr lang="ru-RU" sz="800" dirty="0">
                <a:solidFill>
                  <a:schemeClr val="dk1"/>
                </a:solidFill>
              </a:rPr>
              <a:t> -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ից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մինչև</a:t>
            </a:r>
            <a:r>
              <a:rPr lang="hy-AM" sz="800" dirty="0">
                <a:solidFill>
                  <a:schemeClr val="dk1"/>
                </a:solidFill>
              </a:rPr>
              <a:t> 18։00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30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539594" y="1084616"/>
            <a:ext cx="4784270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Грузовая </a:t>
            </a:r>
            <a:r>
              <a:rPr lang="ru-RU" sz="800" dirty="0" smtClean="0">
                <a:solidFill>
                  <a:schemeClr val="dk1"/>
                </a:solidFill>
              </a:rPr>
              <a:t>машин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եռնատար ավտոմեքենա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91146" y="1576815"/>
            <a:ext cx="5856059" cy="198905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Во время перевозки офисной мебели компания должна предоставить бригаду грузчиков, количество грузчиков не менее 8 человек и больше</a:t>
            </a:r>
            <a:endParaRPr lang="en-US" sz="800" dirty="0">
              <a:latin typeface="Arial Armenian" panose="020B0604020202020204" pitchFamily="34" charset="0"/>
            </a:endParaRPr>
          </a:p>
          <a:p>
            <a:r>
              <a:rPr lang="hy-AM" sz="800" dirty="0" err="1"/>
              <a:t>Օֆիսային</a:t>
            </a:r>
            <a:r>
              <a:rPr lang="hy-AM" sz="800" dirty="0"/>
              <a:t> կահույքի տեղափոխման</a:t>
            </a:r>
            <a:r>
              <a:rPr lang="ru-RU" sz="800" dirty="0"/>
              <a:t> </a:t>
            </a:r>
            <a:r>
              <a:rPr lang="hy-AM" sz="800" dirty="0"/>
              <a:t>ժամանակ ընկերությունը պետք է տրամադրի բանվորական բրիգադ, որը պետք է բաղկացած լինի նվազագույնը 8 հոգուց և ավելին։</a:t>
            </a:r>
            <a:endParaRPr lang="en-US" sz="800" dirty="0">
              <a:latin typeface="Arial Armenian" panose="020B0604020202020204" pitchFamily="34" charset="0"/>
            </a:endParaRPr>
          </a:p>
          <a:p>
            <a:endParaRPr lang="ru-RU" sz="800" dirty="0"/>
          </a:p>
          <a:p>
            <a:r>
              <a:rPr lang="ru-RU" sz="800" dirty="0"/>
              <a:t>Количество человек зависит от предполагаемого объема работ.</a:t>
            </a:r>
            <a:endParaRPr lang="en-US" sz="800" dirty="0">
              <a:latin typeface="Arial Armenian" panose="020B0604020202020204" pitchFamily="34" charset="0"/>
            </a:endParaRPr>
          </a:p>
          <a:p>
            <a:r>
              <a:rPr lang="hy-AM" sz="800" dirty="0"/>
              <a:t>Մարդկանց քանակը կախված է առաջարկվող աշխատանքների ծավալից</a:t>
            </a:r>
            <a:endParaRPr lang="en-US" sz="800" dirty="0">
              <a:latin typeface="Arial Armenian" panose="020B0604020202020204" pitchFamily="34" charset="0"/>
            </a:endParaRPr>
          </a:p>
          <a:p>
            <a:endParaRPr lang="ru-RU" sz="800" dirty="0"/>
          </a:p>
          <a:p>
            <a:r>
              <a:rPr lang="ru-RU" sz="800" dirty="0"/>
              <a:t>Команда должна взять на себя вынос техники и мебели, правильную погрузку, крепление внутри салона машины, </a:t>
            </a:r>
            <a:r>
              <a:rPr lang="ru-RU" sz="800" dirty="0" smtClean="0"/>
              <a:t>разгрузку, а также расставление мебели </a:t>
            </a:r>
            <a:r>
              <a:rPr lang="ru-RU" sz="800" dirty="0"/>
              <a:t>по </a:t>
            </a:r>
            <a:r>
              <a:rPr lang="ru-RU" sz="800" dirty="0" smtClean="0"/>
              <a:t>местам</a:t>
            </a:r>
            <a:endParaRPr lang="en-US" sz="800" dirty="0">
              <a:latin typeface="Arial Armenian" panose="020B0604020202020204" pitchFamily="34" charset="0"/>
            </a:endParaRPr>
          </a:p>
          <a:p>
            <a:r>
              <a:rPr lang="hy-AM" sz="800" dirty="0"/>
              <a:t>Խումբը պետք է իր վրա վերցնի տեխնիկայի և կահույքի դուրսբերումը</a:t>
            </a:r>
            <a:r>
              <a:rPr lang="en-US" sz="800" dirty="0">
                <a:latin typeface="Arial Armenian" panose="020B0604020202020204" pitchFamily="34" charset="0"/>
              </a:rPr>
              <a:t>,</a:t>
            </a:r>
            <a:r>
              <a:rPr lang="hy-AM" sz="800" dirty="0"/>
              <a:t> ճիշտ բեռնումը, մեքենայի սրահի ներսում </a:t>
            </a:r>
            <a:r>
              <a:rPr lang="hy-AM" sz="800" dirty="0" smtClean="0"/>
              <a:t>ամրացումը</a:t>
            </a:r>
            <a:r>
              <a:rPr lang="ru-RU" sz="800" dirty="0" smtClean="0"/>
              <a:t>,</a:t>
            </a:r>
            <a:r>
              <a:rPr lang="hy-AM" sz="800" dirty="0" smtClean="0"/>
              <a:t> բեռնաթափումը</a:t>
            </a:r>
            <a:r>
              <a:rPr lang="ru-RU" sz="800" dirty="0" smtClean="0"/>
              <a:t> </a:t>
            </a:r>
            <a:r>
              <a:rPr lang="hy-AM" sz="800" dirty="0" smtClean="0"/>
              <a:t>և</a:t>
            </a:r>
            <a:r>
              <a:rPr lang="ru-RU" sz="800" dirty="0" smtClean="0"/>
              <a:t> </a:t>
            </a:r>
            <a:r>
              <a:rPr lang="hy-AM" sz="800" dirty="0" smtClean="0"/>
              <a:t>նաև դասավորումը:</a:t>
            </a:r>
            <a:endParaRPr lang="ru-RU" sz="800" dirty="0" smtClean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Все перевозки будут осуществлены на территории г. </a:t>
            </a:r>
            <a:r>
              <a:rPr lang="ru-RU" sz="800" dirty="0" smtClean="0"/>
              <a:t>Ереван</a:t>
            </a:r>
            <a:endParaRPr lang="ru-RU" sz="800" dirty="0"/>
          </a:p>
          <a:p>
            <a:r>
              <a:rPr lang="hy-AM" altLang="en-US" sz="800" dirty="0">
                <a:solidFill>
                  <a:srgbClr val="202124"/>
                </a:solidFill>
                <a:latin typeface="inherit"/>
              </a:rPr>
              <a:t>Բոլոր փոխադրումները իրականացվելու են ք․ </a:t>
            </a:r>
            <a:r>
              <a:rPr lang="hy-AM" altLang="en-US" sz="800" dirty="0" err="1" smtClean="0">
                <a:solidFill>
                  <a:srgbClr val="202124"/>
                </a:solidFill>
                <a:latin typeface="inherit"/>
              </a:rPr>
              <a:t>Երևանում</a:t>
            </a:r>
            <a:r>
              <a:rPr lang="hy-AM" altLang="en-US" sz="800" dirty="0" smtClean="0">
                <a:solidFill>
                  <a:srgbClr val="202124"/>
                </a:solidFill>
                <a:latin typeface="inherit"/>
              </a:rPr>
              <a:t>՝</a:t>
            </a:r>
            <a:r>
              <a:rPr lang="hy-AM" sz="800" dirty="0" smtClean="0"/>
              <a:t>․</a:t>
            </a:r>
            <a:endParaRPr lang="en-US" sz="800" dirty="0" smtClean="0"/>
          </a:p>
          <a:p>
            <a:endParaRPr lang="en-US" sz="800" dirty="0"/>
          </a:p>
        </p:txBody>
      </p:sp>
      <p:sp>
        <p:nvSpPr>
          <p:cNvPr id="18" name="Down Arrow 17"/>
          <p:cNvSpPr/>
          <p:nvPr/>
        </p:nvSpPr>
        <p:spPr>
          <a:xfrm>
            <a:off x="3004432" y="1431692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Down Arrow 18"/>
          <p:cNvSpPr/>
          <p:nvPr/>
        </p:nvSpPr>
        <p:spPr>
          <a:xfrm>
            <a:off x="8890889" y="1437136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2" name="Down Arrow 21"/>
          <p:cNvSpPr/>
          <p:nvPr/>
        </p:nvSpPr>
        <p:spPr>
          <a:xfrm>
            <a:off x="6756089" y="4624896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6759" y="6353393"/>
            <a:ext cx="73882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*цена должна быть указан</a:t>
            </a:r>
            <a:r>
              <a:rPr lang="ru-RU" sz="800" kern="1400" dirty="0">
                <a:solidFill>
                  <a:srgbClr val="FF0000"/>
                </a:solidFill>
                <a:latin typeface="Calibri" panose="020F0502020204030204" pitchFamily="34" charset="0"/>
              </a:rPr>
              <a:t>а</a:t>
            </a:r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за один выезд, за полностью загруженную машину</a:t>
            </a:r>
          </a:p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endParaRPr lang="en-US" sz="800" kern="14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14727" y="6542638"/>
            <a:ext cx="5012591" cy="1128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*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գինը պետք է նշված լինի մեկ ուղղության համար, ամբողջությամբ բեռնված մեքենայի համար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endParaRPr kumimoji="0" lang="hy-AM" altLang="en-US" sz="9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6074230" y="3730531"/>
            <a:ext cx="5746147" cy="394546"/>
          </a:xfrm>
          <a:prstGeom prst="roundRect">
            <a:avLst>
              <a:gd name="adj" fmla="val 10000"/>
            </a:avLst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Компания несет ответственность за ущерб </a:t>
            </a:r>
            <a:r>
              <a:rPr lang="ru-RU" sz="800" dirty="0" smtClean="0"/>
              <a:t>причинённый  </a:t>
            </a:r>
            <a:r>
              <a:rPr lang="ru-RU" sz="800" dirty="0"/>
              <a:t>во время выполнения работ. </a:t>
            </a:r>
            <a:endParaRPr lang="hy-AM" sz="800" dirty="0" smtClean="0"/>
          </a:p>
          <a:p>
            <a:r>
              <a:rPr lang="en-US" sz="800" dirty="0" err="1" smtClean="0">
                <a:solidFill>
                  <a:schemeClr val="tx1"/>
                </a:solidFill>
              </a:rPr>
              <a:t>Ընկերությունը</a:t>
            </a:r>
            <a:r>
              <a:rPr lang="en-US" sz="800" dirty="0" smtClean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ասխանատվություն</a:t>
            </a:r>
            <a:r>
              <a:rPr lang="en-US" sz="800" dirty="0">
                <a:solidFill>
                  <a:schemeClr val="tx1"/>
                </a:solidFill>
              </a:rPr>
              <a:t> է </a:t>
            </a:r>
            <a:r>
              <a:rPr lang="en-US" sz="800" dirty="0" err="1">
                <a:solidFill>
                  <a:schemeClr val="tx1"/>
                </a:solidFill>
              </a:rPr>
              <a:t>կր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շխատանք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ընթացք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պրանքին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ճառած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վնասներ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համար</a:t>
            </a:r>
            <a:r>
              <a:rPr lang="en-US" sz="800" dirty="0" smtClean="0">
                <a:solidFill>
                  <a:schemeClr val="tx1"/>
                </a:solidFill>
              </a:rPr>
              <a:t>: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38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8863"/>
              </p:ext>
            </p:extLst>
          </p:nvPr>
        </p:nvGraphicFramePr>
        <p:xfrm>
          <a:off x="91145" y="4835178"/>
          <a:ext cx="7387341" cy="1609344"/>
        </p:xfrm>
        <a:graphic>
          <a:graphicData uri="http://schemas.openxmlformats.org/drawingml/2006/table">
            <a:tbl>
              <a:tblPr/>
              <a:tblGrid>
                <a:gridCol w="6048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8943">
                  <a:extLst>
                    <a:ext uri="{9D8B030D-6E8A-4147-A177-3AD203B41FA5}">
                      <a16:colId xmlns:a16="http://schemas.microsoft.com/office/drawing/2014/main" val="2955368908"/>
                    </a:ext>
                  </a:extLst>
                </a:gridCol>
              </a:tblGrid>
              <a:tr h="575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Необходимо предоставить стоимость перевозки стеллажей и металлических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шкафов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грузовой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ашиной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длина 3 м, ширина - 2 м и высота – 1.8 м) </a:t>
                      </a:r>
                      <a:endParaRPr lang="en-US" sz="80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 один выезд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 մետաղական պահարանների և </a:t>
                      </a:r>
                      <a:r>
                        <a:rPr lang="hy-AM" sz="800" dirty="0" err="1" smtClean="0"/>
                        <a:t>դարակաշարերի</a:t>
                      </a:r>
                      <a:r>
                        <a:rPr lang="hy-AM" sz="800" dirty="0" smtClean="0"/>
                        <a:t>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ru-RU" sz="800" dirty="0" smtClean="0"/>
                        <a:t> (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3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մ, լայնություն – 2մ, բարձրություն – 1.8մ․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Необходимо предоставить стоимость перевозки стеллажей и металлических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шкафов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грузовой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ашиной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длина 4 м, ширина - 2 м и высота – 1.8 м) </a:t>
                      </a:r>
                      <a:endParaRPr lang="en-US" sz="80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 один выезд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 մետաղական պահարանների և </a:t>
                      </a:r>
                      <a:r>
                        <a:rPr lang="hy-AM" sz="800" dirty="0" err="1" smtClean="0"/>
                        <a:t>դարակաշարերի</a:t>
                      </a:r>
                      <a:r>
                        <a:rPr lang="hy-AM" sz="800" dirty="0" smtClean="0"/>
                        <a:t>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ru-RU" sz="800" dirty="0" smtClean="0"/>
                        <a:t>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4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մ, լայնություն – 2մ, բարձրություն – 1.8մ․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4111549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288" y="4535386"/>
            <a:ext cx="1642115" cy="204200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B5B82B39-FA39-4517-A727-7BE6AAEA7F1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8" y="124057"/>
            <a:ext cx="1047114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ВТБ </a:t>
            </a:r>
            <a:r>
              <a:rPr lang="ru-RU" sz="1800" dirty="0" smtClean="0"/>
              <a:t>Армения</a:t>
            </a:r>
            <a:endParaRPr lang="ru-RU" sz="1800" dirty="0"/>
          </a:p>
        </p:txBody>
      </p:sp>
      <p:sp>
        <p:nvSpPr>
          <p:cNvPr id="26" name="Slide Number Placeholder 40"/>
          <p:cNvSpPr txBox="1">
            <a:spLocks/>
          </p:cNvSpPr>
          <p:nvPr/>
        </p:nvSpPr>
        <p:spPr>
          <a:xfrm>
            <a:off x="9448800" y="632708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3" name="Rectangle 32"/>
          <p:cNvSpPr/>
          <p:nvPr/>
        </p:nvSpPr>
        <p:spPr>
          <a:xfrm>
            <a:off x="9586497" y="54561"/>
            <a:ext cx="2233880" cy="54109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4" name="Picture 1" descr="VTB_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316" y="18815"/>
            <a:ext cx="853303" cy="49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ounded Rectangle 23"/>
          <p:cNvSpPr/>
          <p:nvPr/>
        </p:nvSpPr>
        <p:spPr>
          <a:xfrm>
            <a:off x="91145" y="1596278"/>
            <a:ext cx="6783184" cy="2148756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Во время перевозки стеллажей, металлических шкафов компания должна предоставить бригаду грузчиков, количество грузчиков не менее 8 человек и больше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Մետաղական պահարանների և </a:t>
            </a:r>
            <a:r>
              <a:rPr lang="hy-AM" sz="800" dirty="0" err="1">
                <a:solidFill>
                  <a:schemeClr val="dk1"/>
                </a:solidFill>
              </a:rPr>
              <a:t>դարակաշարերի</a:t>
            </a:r>
            <a:r>
              <a:rPr lang="hy-AM" sz="800" dirty="0">
                <a:solidFill>
                  <a:schemeClr val="dk1"/>
                </a:solidFill>
              </a:rPr>
              <a:t> տեղափոխման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r>
              <a:rPr lang="hy-AM" sz="800" dirty="0">
                <a:solidFill>
                  <a:schemeClr val="dk1"/>
                </a:solidFill>
              </a:rPr>
              <a:t>ժամանակ ընկերությունը պետք է տրամադրի բանվորական բրիգադ, որը պետք է բաղկացած լինի նվազագույնը 8 հոգուց և ավելին։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Количество человек зависит от предполагаемого объема работ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Մարդկանց քանակը կախված է առաջարկվող աշխատանքների ծավալից: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 </a:t>
            </a:r>
          </a:p>
          <a:p>
            <a:r>
              <a:rPr lang="ru-RU" sz="800" dirty="0">
                <a:solidFill>
                  <a:schemeClr val="dk1"/>
                </a:solidFill>
              </a:rPr>
              <a:t>Команда должна взять на себя вынос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ru-RU" sz="800" dirty="0">
                <a:solidFill>
                  <a:schemeClr val="dk1"/>
                </a:solidFill>
              </a:rPr>
              <a:t>стеллажей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ru-RU" sz="800" dirty="0">
                <a:solidFill>
                  <a:schemeClr val="dk1"/>
                </a:solidFill>
              </a:rPr>
              <a:t>и металлических шкафов , правильную погрузку, крепление внутри салона машины, разгрузку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Խումբը պետք է իր վրա վերցնի մետաղական պահարանների և </a:t>
            </a:r>
            <a:r>
              <a:rPr lang="hy-AM" sz="800" dirty="0" err="1">
                <a:solidFill>
                  <a:schemeClr val="dk1"/>
                </a:solidFill>
              </a:rPr>
              <a:t>դարակաշարերի</a:t>
            </a:r>
            <a:r>
              <a:rPr lang="hy-AM" sz="800" dirty="0">
                <a:solidFill>
                  <a:schemeClr val="dk1"/>
                </a:solidFill>
              </a:rPr>
              <a:t> դուրսբերումը ճիշտ բեռնումը, մեքենայի սրահի ներսում ամրացումը և բեռնաթափումը:</a:t>
            </a:r>
            <a:endParaRPr lang="ru-RU" sz="800" dirty="0">
              <a:solidFill>
                <a:schemeClr val="dk1"/>
              </a:solidFill>
            </a:endParaRPr>
          </a:p>
          <a:p>
            <a:endParaRPr lang="ru-RU" sz="800" dirty="0" smtClean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Все перевозки будут осуществлены на территории г. </a:t>
            </a:r>
            <a:r>
              <a:rPr lang="ru-RU" sz="800" dirty="0" smtClean="0"/>
              <a:t>Ереван</a:t>
            </a:r>
            <a:endParaRPr lang="ru-RU" sz="800" dirty="0"/>
          </a:p>
          <a:p>
            <a:r>
              <a:rPr lang="hy-AM" altLang="en-US" sz="800" dirty="0">
                <a:solidFill>
                  <a:srgbClr val="202124"/>
                </a:solidFill>
                <a:latin typeface="inherit"/>
              </a:rPr>
              <a:t>Բոլոր փոխադրումները իրականացվելու են ք․ </a:t>
            </a:r>
            <a:r>
              <a:rPr lang="hy-AM" altLang="en-US" sz="800" dirty="0" err="1" smtClean="0">
                <a:solidFill>
                  <a:srgbClr val="202124"/>
                </a:solidFill>
                <a:latin typeface="inherit"/>
              </a:rPr>
              <a:t>Երևանում</a:t>
            </a:r>
            <a:r>
              <a:rPr lang="hy-AM" altLang="en-US" sz="800" dirty="0" smtClean="0">
                <a:solidFill>
                  <a:srgbClr val="202124"/>
                </a:solidFill>
                <a:latin typeface="inherit"/>
              </a:rPr>
              <a:t>՝</a:t>
            </a:r>
            <a:endParaRPr lang="ru-RU" sz="800" dirty="0"/>
          </a:p>
          <a:p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941973" y="1596277"/>
            <a:ext cx="4878403" cy="2148757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Во время перевозки стеллажей, металлических шкафов </a:t>
            </a:r>
            <a:r>
              <a:rPr lang="ru-RU" sz="800" dirty="0" smtClean="0"/>
              <a:t>компания </a:t>
            </a:r>
            <a:r>
              <a:rPr lang="ru-RU" sz="800" dirty="0"/>
              <a:t>должна предоставить транспортное средство</a:t>
            </a:r>
            <a:r>
              <a:rPr lang="hy-AM" sz="800" dirty="0"/>
              <a:t> </a:t>
            </a:r>
            <a:endParaRPr lang="en-US" sz="800" dirty="0"/>
          </a:p>
          <a:p>
            <a:r>
              <a:rPr lang="hy-AM" sz="800" dirty="0"/>
              <a:t>Մետաղական պահարանների և </a:t>
            </a:r>
            <a:r>
              <a:rPr lang="hy-AM" sz="800" dirty="0" err="1"/>
              <a:t>դարակաշարերի</a:t>
            </a:r>
            <a:r>
              <a:rPr lang="hy-AM" sz="800" dirty="0"/>
              <a:t> </a:t>
            </a:r>
            <a:r>
              <a:rPr lang="hy-AM" sz="800" dirty="0" smtClean="0"/>
              <a:t>տեղափոխման </a:t>
            </a:r>
            <a:r>
              <a:rPr lang="hy-AM" sz="800" dirty="0"/>
              <a:t>ժամանակ ընկերությունը պետք է տրամադրի տրանսպորտային միջոց</a:t>
            </a:r>
            <a:r>
              <a:rPr lang="hy-AM" sz="800" dirty="0" smtClean="0"/>
              <a:t>։</a:t>
            </a:r>
            <a:endParaRPr lang="ru-RU" sz="800" dirty="0"/>
          </a:p>
          <a:p>
            <a:r>
              <a:rPr lang="ru-RU" sz="800" dirty="0"/>
              <a:t>Габариты кузова грузовых автомобилей должны быть</a:t>
            </a:r>
            <a:r>
              <a:rPr lang="hy-AM" sz="800" dirty="0"/>
              <a:t>: </a:t>
            </a:r>
            <a:r>
              <a:rPr lang="ru-RU" sz="800" dirty="0"/>
              <a:t>длина - 3 м, ширина - 2 м и высота – 1.8 м </a:t>
            </a:r>
            <a:endParaRPr lang="en-US" sz="800" dirty="0"/>
          </a:p>
          <a:p>
            <a:r>
              <a:rPr lang="hy-AM" sz="800" dirty="0"/>
              <a:t>Բեռնատար մեքենաների չափսերը պետք է լինեն՝ երկարություն – 3մ, լայնություն – 2մ, բարձրություն – 1.8մ</a:t>
            </a:r>
            <a:r>
              <a:rPr lang="hy-AM" sz="800" dirty="0" smtClean="0"/>
              <a:t>․</a:t>
            </a:r>
            <a:endParaRPr lang="hy-AM" sz="800" dirty="0"/>
          </a:p>
          <a:p>
            <a:r>
              <a:rPr lang="ru-RU" sz="800" dirty="0"/>
              <a:t>Транспортное средство должно быть оборудовано специальными креплениями</a:t>
            </a:r>
            <a:endParaRPr lang="en-US" sz="800" dirty="0"/>
          </a:p>
          <a:p>
            <a:r>
              <a:rPr lang="hy-AM" sz="800" dirty="0"/>
              <a:t>Տրանսպորտային միջոցը պետք է հագեցած լինի հատուկ </a:t>
            </a:r>
            <a:r>
              <a:rPr lang="hy-AM" sz="800" dirty="0" err="1" smtClean="0"/>
              <a:t>ամրագոտիներով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Вид кузова: Тент</a:t>
            </a:r>
            <a:endParaRPr lang="en-US" sz="800" dirty="0"/>
          </a:p>
          <a:p>
            <a:r>
              <a:rPr lang="hy-AM" sz="800" dirty="0"/>
              <a:t>Թափքի տեսակ՝ </a:t>
            </a:r>
            <a:r>
              <a:rPr lang="hy-AM" sz="800" dirty="0" err="1"/>
              <a:t>տենտ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Грузоподъемность:</a:t>
            </a:r>
            <a:r>
              <a:rPr lang="hy-AM" sz="800" dirty="0"/>
              <a:t> 1.5 </a:t>
            </a:r>
            <a:r>
              <a:rPr lang="ru-RU" sz="800" dirty="0"/>
              <a:t>тонн</a:t>
            </a:r>
            <a:r>
              <a:rPr lang="en-US" sz="800" dirty="0"/>
              <a:t> </a:t>
            </a:r>
            <a:r>
              <a:rPr lang="ru-RU" sz="800" dirty="0"/>
              <a:t> </a:t>
            </a:r>
            <a:r>
              <a:rPr lang="hy-AM" sz="800" dirty="0"/>
              <a:t> </a:t>
            </a:r>
          </a:p>
          <a:p>
            <a:r>
              <a:rPr lang="hy-AM" sz="800" dirty="0" smtClean="0"/>
              <a:t>Բեռնատարողությունը՝ </a:t>
            </a:r>
            <a:r>
              <a:rPr lang="hy-AM" sz="800" dirty="0"/>
              <a:t>1.5 տոննա</a:t>
            </a:r>
            <a:endParaRPr lang="ru-RU" sz="800" dirty="0"/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09" r="36967" b="6567"/>
          <a:stretch/>
        </p:blipFill>
        <p:spPr>
          <a:xfrm>
            <a:off x="7838824" y="4961743"/>
            <a:ext cx="863208" cy="162793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44" r="24599"/>
          <a:stretch/>
        </p:blipFill>
        <p:spPr>
          <a:xfrm>
            <a:off x="10724226" y="4532080"/>
            <a:ext cx="1095450" cy="2088275"/>
          </a:xfrm>
          <a:prstGeom prst="rect">
            <a:avLst/>
          </a:prstGeom>
        </p:spPr>
      </p:pic>
      <p:sp>
        <p:nvSpPr>
          <p:cNvPr id="35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753809" y="1114288"/>
            <a:ext cx="2965146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Рабочая </a:t>
            </a:r>
            <a:r>
              <a:rPr lang="ru-RU" sz="800" dirty="0" smtClean="0">
                <a:solidFill>
                  <a:schemeClr val="dk1"/>
                </a:solidFill>
              </a:rPr>
              <a:t>сил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անվորական ուժ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38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7159543" y="1113464"/>
            <a:ext cx="3784667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Грузовая </a:t>
            </a:r>
            <a:r>
              <a:rPr lang="ru-RU" sz="800" dirty="0" smtClean="0">
                <a:solidFill>
                  <a:schemeClr val="dk1"/>
                </a:solidFill>
              </a:rPr>
              <a:t>машин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եռնատար ավտոմեքենա</a:t>
            </a:r>
            <a:endParaRPr lang="ru-RU" sz="800" dirty="0">
              <a:solidFill>
                <a:schemeClr val="dk1"/>
              </a:solidFill>
            </a:endParaRPr>
          </a:p>
        </p:txBody>
      </p:sp>
      <p:grpSp>
        <p:nvGrpSpPr>
          <p:cNvPr id="40" name="Group 5">
            <a:extLst>
              <a:ext uri="{FF2B5EF4-FFF2-40B4-BE49-F238E27FC236}">
                <a16:creationId xmlns:a16="http://schemas.microsoft.com/office/drawing/2014/main" id="{248B7D0E-879C-4BF2-8A0D-571098ABDAA2}"/>
              </a:ext>
            </a:extLst>
          </p:cNvPr>
          <p:cNvGrpSpPr/>
          <p:nvPr/>
        </p:nvGrpSpPr>
        <p:grpSpPr>
          <a:xfrm rot="10800000">
            <a:off x="266871" y="448448"/>
            <a:ext cx="11436869" cy="454618"/>
            <a:chOff x="7158385" y="1187391"/>
            <a:chExt cx="4699226" cy="506581"/>
          </a:xfrm>
        </p:grpSpPr>
        <p:sp>
          <p:nvSpPr>
            <p:cNvPr id="43" name="Freeform: Shape 7">
              <a:extLst>
                <a:ext uri="{FF2B5EF4-FFF2-40B4-BE49-F238E27FC236}">
                  <a16:creationId xmlns:a16="http://schemas.microsoft.com/office/drawing/2014/main" id="{940CCDBC-2F25-443B-B0FD-C3012DC69D19}"/>
                </a:ext>
              </a:extLst>
            </p:cNvPr>
            <p:cNvSpPr/>
            <p:nvPr/>
          </p:nvSpPr>
          <p:spPr>
            <a:xfrm flipH="1">
              <a:off x="11375625" y="1187391"/>
              <a:ext cx="481986" cy="503406"/>
            </a:xfrm>
            <a:custGeom>
              <a:avLst/>
              <a:gdLst>
                <a:gd name="connsiteX0" fmla="*/ 197679 w 481986"/>
                <a:gd name="connsiteY0" fmla="*/ 0 h 503406"/>
                <a:gd name="connsiteX1" fmla="*/ 481986 w 481986"/>
                <a:gd name="connsiteY1" fmla="*/ 0 h 503406"/>
                <a:gd name="connsiteX2" fmla="*/ 481986 w 481986"/>
                <a:gd name="connsiteY2" fmla="*/ 503406 h 503406"/>
                <a:gd name="connsiteX3" fmla="*/ 473173 w 481986"/>
                <a:gd name="connsiteY3" fmla="*/ 503406 h 503406"/>
                <a:gd name="connsiteX4" fmla="*/ 197679 w 481986"/>
                <a:gd name="connsiteY4" fmla="*/ 503406 h 503406"/>
                <a:gd name="connsiteX5" fmla="*/ 0 w 481986"/>
                <a:gd name="connsiteY5" fmla="*/ 251703 h 503406"/>
                <a:gd name="connsiteX6" fmla="*/ 197679 w 481986"/>
                <a:gd name="connsiteY6" fmla="*/ 0 h 50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986" h="503406">
                  <a:moveTo>
                    <a:pt x="197679" y="0"/>
                  </a:moveTo>
                  <a:lnTo>
                    <a:pt x="481986" y="0"/>
                  </a:lnTo>
                  <a:lnTo>
                    <a:pt x="481986" y="503406"/>
                  </a:lnTo>
                  <a:lnTo>
                    <a:pt x="473173" y="503406"/>
                  </a:lnTo>
                  <a:lnTo>
                    <a:pt x="197679" y="503406"/>
                  </a:lnTo>
                  <a:cubicBezTo>
                    <a:pt x="88504" y="503406"/>
                    <a:pt x="0" y="390715"/>
                    <a:pt x="0" y="251703"/>
                  </a:cubicBezTo>
                  <a:cubicBezTo>
                    <a:pt x="0" y="112691"/>
                    <a:pt x="88504" y="0"/>
                    <a:pt x="197679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4" name="Freeform: Shape 6">
              <a:extLst>
                <a:ext uri="{FF2B5EF4-FFF2-40B4-BE49-F238E27FC236}">
                  <a16:creationId xmlns:a16="http://schemas.microsoft.com/office/drawing/2014/main" id="{80CA7EE1-C806-48E4-AB48-03B0FA0558EC}"/>
                </a:ext>
              </a:extLst>
            </p:cNvPr>
            <p:cNvSpPr>
              <a:spLocks/>
            </p:cNvSpPr>
            <p:nvPr/>
          </p:nvSpPr>
          <p:spPr>
            <a:xfrm flipH="1">
              <a:off x="7158385" y="1187391"/>
              <a:ext cx="4559175" cy="506581"/>
            </a:xfrm>
            <a:custGeom>
              <a:avLst/>
              <a:gdLst>
                <a:gd name="connsiteX0" fmla="*/ 311236 w 6224306"/>
                <a:gd name="connsiteY0" fmla="*/ 0 h 622472"/>
                <a:gd name="connsiteX1" fmla="*/ 968865 w 6224306"/>
                <a:gd name="connsiteY1" fmla="*/ 0 h 622472"/>
                <a:gd name="connsiteX2" fmla="*/ 1469856 w 6224306"/>
                <a:gd name="connsiteY2" fmla="*/ 0 h 622472"/>
                <a:gd name="connsiteX3" fmla="*/ 1936731 w 6224306"/>
                <a:gd name="connsiteY3" fmla="*/ 0 h 622472"/>
                <a:gd name="connsiteX4" fmla="*/ 2127485 w 6224306"/>
                <a:gd name="connsiteY4" fmla="*/ 0 h 622472"/>
                <a:gd name="connsiteX5" fmla="*/ 2581960 w 6224306"/>
                <a:gd name="connsiteY5" fmla="*/ 0 h 622472"/>
                <a:gd name="connsiteX6" fmla="*/ 3095351 w 6224306"/>
                <a:gd name="connsiteY6" fmla="*/ 0 h 622472"/>
                <a:gd name="connsiteX7" fmla="*/ 3740580 w 6224306"/>
                <a:gd name="connsiteY7" fmla="*/ 0 h 622472"/>
                <a:gd name="connsiteX8" fmla="*/ 4050345 w 6224306"/>
                <a:gd name="connsiteY8" fmla="*/ 0 h 622472"/>
                <a:gd name="connsiteX9" fmla="*/ 5065686 w 6224306"/>
                <a:gd name="connsiteY9" fmla="*/ 0 h 622472"/>
                <a:gd name="connsiteX10" fmla="*/ 5208965 w 6224306"/>
                <a:gd name="connsiteY10" fmla="*/ 0 h 622472"/>
                <a:gd name="connsiteX11" fmla="*/ 6224306 w 6224306"/>
                <a:gd name="connsiteY11" fmla="*/ 0 h 622472"/>
                <a:gd name="connsiteX12" fmla="*/ 6000428 w 6224306"/>
                <a:gd name="connsiteY12" fmla="*/ 622472 h 622472"/>
                <a:gd name="connsiteX13" fmla="*/ 4985087 w 6224306"/>
                <a:gd name="connsiteY13" fmla="*/ 622472 h 622472"/>
                <a:gd name="connsiteX14" fmla="*/ 4841808 w 6224306"/>
                <a:gd name="connsiteY14" fmla="*/ 622472 h 622472"/>
                <a:gd name="connsiteX15" fmla="*/ 3826467 w 6224306"/>
                <a:gd name="connsiteY15" fmla="*/ 622472 h 622472"/>
                <a:gd name="connsiteX16" fmla="*/ 3516702 w 6224306"/>
                <a:gd name="connsiteY16" fmla="*/ 622472 h 622472"/>
                <a:gd name="connsiteX17" fmla="*/ 3095351 w 6224306"/>
                <a:gd name="connsiteY17" fmla="*/ 622472 h 622472"/>
                <a:gd name="connsiteX18" fmla="*/ 2358082 w 6224306"/>
                <a:gd name="connsiteY18" fmla="*/ 622472 h 622472"/>
                <a:gd name="connsiteX19" fmla="*/ 1936731 w 6224306"/>
                <a:gd name="connsiteY19" fmla="*/ 622472 h 622472"/>
                <a:gd name="connsiteX20" fmla="*/ 1903607 w 6224306"/>
                <a:gd name="connsiteY20" fmla="*/ 622472 h 622472"/>
                <a:gd name="connsiteX21" fmla="*/ 1469856 w 6224306"/>
                <a:gd name="connsiteY21" fmla="*/ 622472 h 622472"/>
                <a:gd name="connsiteX22" fmla="*/ 744987 w 6224306"/>
                <a:gd name="connsiteY22" fmla="*/ 622472 h 622472"/>
                <a:gd name="connsiteX23" fmla="*/ 311236 w 6224306"/>
                <a:gd name="connsiteY23" fmla="*/ 622472 h 622472"/>
                <a:gd name="connsiteX24" fmla="*/ 0 w 6224306"/>
                <a:gd name="connsiteY24" fmla="*/ 311236 h 622472"/>
                <a:gd name="connsiteX25" fmla="*/ 311236 w 6224306"/>
                <a:gd name="connsiteY25" fmla="*/ 0 h 622472"/>
                <a:gd name="connsiteX0" fmla="*/ 311236 w 6595843"/>
                <a:gd name="connsiteY0" fmla="*/ 0 h 631786"/>
                <a:gd name="connsiteX1" fmla="*/ 968865 w 6595843"/>
                <a:gd name="connsiteY1" fmla="*/ 0 h 631786"/>
                <a:gd name="connsiteX2" fmla="*/ 1469856 w 6595843"/>
                <a:gd name="connsiteY2" fmla="*/ 0 h 631786"/>
                <a:gd name="connsiteX3" fmla="*/ 1936731 w 6595843"/>
                <a:gd name="connsiteY3" fmla="*/ 0 h 631786"/>
                <a:gd name="connsiteX4" fmla="*/ 2127485 w 6595843"/>
                <a:gd name="connsiteY4" fmla="*/ 0 h 631786"/>
                <a:gd name="connsiteX5" fmla="*/ 2581960 w 6595843"/>
                <a:gd name="connsiteY5" fmla="*/ 0 h 631786"/>
                <a:gd name="connsiteX6" fmla="*/ 3095351 w 6595843"/>
                <a:gd name="connsiteY6" fmla="*/ 0 h 631786"/>
                <a:gd name="connsiteX7" fmla="*/ 3740580 w 6595843"/>
                <a:gd name="connsiteY7" fmla="*/ 0 h 631786"/>
                <a:gd name="connsiteX8" fmla="*/ 4050345 w 6595843"/>
                <a:gd name="connsiteY8" fmla="*/ 0 h 631786"/>
                <a:gd name="connsiteX9" fmla="*/ 5065686 w 6595843"/>
                <a:gd name="connsiteY9" fmla="*/ 0 h 631786"/>
                <a:gd name="connsiteX10" fmla="*/ 5208965 w 6595843"/>
                <a:gd name="connsiteY10" fmla="*/ 0 h 631786"/>
                <a:gd name="connsiteX11" fmla="*/ 6224306 w 6595843"/>
                <a:gd name="connsiteY11" fmla="*/ 0 h 631786"/>
                <a:gd name="connsiteX12" fmla="*/ 6595843 w 6595843"/>
                <a:gd name="connsiteY12" fmla="*/ 631786 h 631786"/>
                <a:gd name="connsiteX13" fmla="*/ 4985087 w 6595843"/>
                <a:gd name="connsiteY13" fmla="*/ 622472 h 631786"/>
                <a:gd name="connsiteX14" fmla="*/ 4841808 w 6595843"/>
                <a:gd name="connsiteY14" fmla="*/ 622472 h 631786"/>
                <a:gd name="connsiteX15" fmla="*/ 3826467 w 6595843"/>
                <a:gd name="connsiteY15" fmla="*/ 622472 h 631786"/>
                <a:gd name="connsiteX16" fmla="*/ 3516702 w 6595843"/>
                <a:gd name="connsiteY16" fmla="*/ 622472 h 631786"/>
                <a:gd name="connsiteX17" fmla="*/ 3095351 w 6595843"/>
                <a:gd name="connsiteY17" fmla="*/ 622472 h 631786"/>
                <a:gd name="connsiteX18" fmla="*/ 2358082 w 6595843"/>
                <a:gd name="connsiteY18" fmla="*/ 622472 h 631786"/>
                <a:gd name="connsiteX19" fmla="*/ 1936731 w 6595843"/>
                <a:gd name="connsiteY19" fmla="*/ 622472 h 631786"/>
                <a:gd name="connsiteX20" fmla="*/ 1903607 w 6595843"/>
                <a:gd name="connsiteY20" fmla="*/ 622472 h 631786"/>
                <a:gd name="connsiteX21" fmla="*/ 1469856 w 6595843"/>
                <a:gd name="connsiteY21" fmla="*/ 622472 h 631786"/>
                <a:gd name="connsiteX22" fmla="*/ 744987 w 6595843"/>
                <a:gd name="connsiteY22" fmla="*/ 622472 h 631786"/>
                <a:gd name="connsiteX23" fmla="*/ 311236 w 6595843"/>
                <a:gd name="connsiteY23" fmla="*/ 622472 h 631786"/>
                <a:gd name="connsiteX24" fmla="*/ 0 w 6595843"/>
                <a:gd name="connsiteY24" fmla="*/ 311236 h 631786"/>
                <a:gd name="connsiteX25" fmla="*/ 311236 w 6595843"/>
                <a:gd name="connsiteY25" fmla="*/ 0 h 631786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24306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57587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68916 w 6270827"/>
                <a:gd name="connsiteY0" fmla="*/ 0 h 624801"/>
                <a:gd name="connsiteX1" fmla="*/ 726545 w 6270827"/>
                <a:gd name="connsiteY1" fmla="*/ 0 h 624801"/>
                <a:gd name="connsiteX2" fmla="*/ 1227536 w 6270827"/>
                <a:gd name="connsiteY2" fmla="*/ 0 h 624801"/>
                <a:gd name="connsiteX3" fmla="*/ 1694411 w 6270827"/>
                <a:gd name="connsiteY3" fmla="*/ 0 h 624801"/>
                <a:gd name="connsiteX4" fmla="*/ 1885165 w 6270827"/>
                <a:gd name="connsiteY4" fmla="*/ 0 h 624801"/>
                <a:gd name="connsiteX5" fmla="*/ 2339640 w 6270827"/>
                <a:gd name="connsiteY5" fmla="*/ 0 h 624801"/>
                <a:gd name="connsiteX6" fmla="*/ 2853031 w 6270827"/>
                <a:gd name="connsiteY6" fmla="*/ 0 h 624801"/>
                <a:gd name="connsiteX7" fmla="*/ 3498260 w 6270827"/>
                <a:gd name="connsiteY7" fmla="*/ 0 h 624801"/>
                <a:gd name="connsiteX8" fmla="*/ 3808025 w 6270827"/>
                <a:gd name="connsiteY8" fmla="*/ 0 h 624801"/>
                <a:gd name="connsiteX9" fmla="*/ 4823366 w 6270827"/>
                <a:gd name="connsiteY9" fmla="*/ 0 h 624801"/>
                <a:gd name="connsiteX10" fmla="*/ 4966645 w 6270827"/>
                <a:gd name="connsiteY10" fmla="*/ 0 h 624801"/>
                <a:gd name="connsiteX11" fmla="*/ 6015267 w 6270827"/>
                <a:gd name="connsiteY11" fmla="*/ 0 h 624801"/>
                <a:gd name="connsiteX12" fmla="*/ 6270827 w 6270827"/>
                <a:gd name="connsiteY12" fmla="*/ 624801 h 624801"/>
                <a:gd name="connsiteX13" fmla="*/ 4742767 w 6270827"/>
                <a:gd name="connsiteY13" fmla="*/ 622472 h 624801"/>
                <a:gd name="connsiteX14" fmla="*/ 4599488 w 6270827"/>
                <a:gd name="connsiteY14" fmla="*/ 622472 h 624801"/>
                <a:gd name="connsiteX15" fmla="*/ 3584147 w 6270827"/>
                <a:gd name="connsiteY15" fmla="*/ 622472 h 624801"/>
                <a:gd name="connsiteX16" fmla="*/ 3274382 w 6270827"/>
                <a:gd name="connsiteY16" fmla="*/ 622472 h 624801"/>
                <a:gd name="connsiteX17" fmla="*/ 2853031 w 6270827"/>
                <a:gd name="connsiteY17" fmla="*/ 622472 h 624801"/>
                <a:gd name="connsiteX18" fmla="*/ 2115762 w 6270827"/>
                <a:gd name="connsiteY18" fmla="*/ 622472 h 624801"/>
                <a:gd name="connsiteX19" fmla="*/ 1694411 w 6270827"/>
                <a:gd name="connsiteY19" fmla="*/ 622472 h 624801"/>
                <a:gd name="connsiteX20" fmla="*/ 1661287 w 6270827"/>
                <a:gd name="connsiteY20" fmla="*/ 622472 h 624801"/>
                <a:gd name="connsiteX21" fmla="*/ 1227536 w 6270827"/>
                <a:gd name="connsiteY21" fmla="*/ 622472 h 624801"/>
                <a:gd name="connsiteX22" fmla="*/ 502667 w 6270827"/>
                <a:gd name="connsiteY22" fmla="*/ 622472 h 624801"/>
                <a:gd name="connsiteX23" fmla="*/ 68916 w 6270827"/>
                <a:gd name="connsiteY23" fmla="*/ 622472 h 624801"/>
                <a:gd name="connsiteX24" fmla="*/ 68916 w 6270827"/>
                <a:gd name="connsiteY24" fmla="*/ 0 h 62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70827" h="624801">
                  <a:moveTo>
                    <a:pt x="68916" y="0"/>
                  </a:moveTo>
                  <a:lnTo>
                    <a:pt x="726545" y="0"/>
                  </a:lnTo>
                  <a:lnTo>
                    <a:pt x="1227536" y="0"/>
                  </a:lnTo>
                  <a:lnTo>
                    <a:pt x="1694411" y="0"/>
                  </a:lnTo>
                  <a:lnTo>
                    <a:pt x="1885165" y="0"/>
                  </a:lnTo>
                  <a:lnTo>
                    <a:pt x="2339640" y="0"/>
                  </a:lnTo>
                  <a:lnTo>
                    <a:pt x="2853031" y="0"/>
                  </a:lnTo>
                  <a:lnTo>
                    <a:pt x="3498260" y="0"/>
                  </a:lnTo>
                  <a:lnTo>
                    <a:pt x="3808025" y="0"/>
                  </a:lnTo>
                  <a:lnTo>
                    <a:pt x="4823366" y="0"/>
                  </a:lnTo>
                  <a:lnTo>
                    <a:pt x="4966645" y="0"/>
                  </a:lnTo>
                  <a:lnTo>
                    <a:pt x="6015267" y="0"/>
                  </a:lnTo>
                  <a:lnTo>
                    <a:pt x="6270827" y="624801"/>
                  </a:lnTo>
                  <a:lnTo>
                    <a:pt x="4742767" y="622472"/>
                  </a:lnTo>
                  <a:lnTo>
                    <a:pt x="4599488" y="622472"/>
                  </a:lnTo>
                  <a:lnTo>
                    <a:pt x="3584147" y="622472"/>
                  </a:lnTo>
                  <a:lnTo>
                    <a:pt x="3274382" y="622472"/>
                  </a:lnTo>
                  <a:lnTo>
                    <a:pt x="2853031" y="622472"/>
                  </a:lnTo>
                  <a:lnTo>
                    <a:pt x="2115762" y="622472"/>
                  </a:lnTo>
                  <a:lnTo>
                    <a:pt x="1694411" y="622472"/>
                  </a:lnTo>
                  <a:lnTo>
                    <a:pt x="1661287" y="622472"/>
                  </a:lnTo>
                  <a:lnTo>
                    <a:pt x="1227536" y="622472"/>
                  </a:lnTo>
                  <a:lnTo>
                    <a:pt x="502667" y="622472"/>
                  </a:lnTo>
                  <a:lnTo>
                    <a:pt x="68916" y="622472"/>
                  </a:lnTo>
                  <a:cubicBezTo>
                    <a:pt x="-3376" y="518727"/>
                    <a:pt x="-40689" y="103745"/>
                    <a:pt x="68916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627651" y="239199"/>
            <a:ext cx="10998292" cy="7838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342900" indent="-342900" algn="just" defTabSz="119386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  <a:tabLst>
                <a:tab pos="359851" algn="l"/>
              </a:tabLst>
            </a:pPr>
            <a:endParaRPr lang="ru-RU" sz="1400" b="1" dirty="0" smtClean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</a:endParaRPr>
          </a:p>
          <a:p>
            <a:pPr algn="ctr" defTabSz="119386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tabLst>
                <a:tab pos="359851" algn="l"/>
              </a:tabLst>
            </a:pPr>
            <a:r>
              <a:rPr lang="ru-RU" sz="1200" b="1" dirty="0" smtClean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Перевозка 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стеллажей, металлических шкафов из здания </a:t>
            </a:r>
            <a:r>
              <a:rPr lang="ru-RU" sz="1200" b="1" dirty="0" err="1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Московяна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 35;</a:t>
            </a:r>
            <a:r>
              <a:rPr lang="hy-AM" sz="1200" b="1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 </a:t>
            </a:r>
            <a:endParaRPr lang="en-US" sz="1200" b="1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</a:endParaRPr>
          </a:p>
          <a:p>
            <a:pPr algn="ctr" defTabSz="119386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tabLst>
                <a:tab pos="359851" algn="l"/>
              </a:tabLst>
            </a:pPr>
            <a:r>
              <a:rPr lang="hy-AM" sz="1200" b="1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Մոսկովյան 35 հասցեից մետաղական պահարանների և </a:t>
            </a:r>
            <a:r>
              <a:rPr lang="hy-AM" sz="1200" b="1" dirty="0" err="1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դարակաշարերի</a:t>
            </a:r>
            <a:r>
              <a:rPr lang="hy-AM" sz="1200" b="1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 տեղափոխում</a:t>
            </a:r>
            <a:r>
              <a:rPr lang="ru-RU" sz="1200" b="1" dirty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rPr>
              <a:t>;</a:t>
            </a:r>
          </a:p>
        </p:txBody>
      </p:sp>
      <p:sp>
        <p:nvSpPr>
          <p:cNvPr id="20" name="Down Arrow 19"/>
          <p:cNvSpPr/>
          <p:nvPr/>
        </p:nvSpPr>
        <p:spPr>
          <a:xfrm>
            <a:off x="3204727" y="1462716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1" name="Down Arrow 20"/>
          <p:cNvSpPr/>
          <p:nvPr/>
        </p:nvSpPr>
        <p:spPr>
          <a:xfrm>
            <a:off x="9055805" y="1468160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6759" y="6402228"/>
            <a:ext cx="73882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*цена должна быть указан</a:t>
            </a:r>
            <a:r>
              <a:rPr lang="ru-RU" sz="800" kern="1400" dirty="0">
                <a:solidFill>
                  <a:srgbClr val="FF0000"/>
                </a:solidFill>
                <a:latin typeface="Calibri" panose="020F0502020204030204" pitchFamily="34" charset="0"/>
              </a:rPr>
              <a:t>а</a:t>
            </a:r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за один выезд, за полностью загруженную машину</a:t>
            </a:r>
          </a:p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endParaRPr lang="en-US" sz="800" kern="14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39" name="Rectangle 1"/>
          <p:cNvSpPr>
            <a:spLocks noChangeArrowheads="1"/>
          </p:cNvSpPr>
          <p:nvPr/>
        </p:nvSpPr>
        <p:spPr bwMode="auto">
          <a:xfrm>
            <a:off x="114727" y="6583309"/>
            <a:ext cx="5012591" cy="1128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*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գինը պետք է նշված լինի մեկ ուղղության համար, ամբողջությամբ բեռնված մեքենայի համար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endParaRPr kumimoji="0" lang="hy-AM" altLang="en-US" sz="9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91148" y="3821860"/>
            <a:ext cx="5856057" cy="38053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Работы будут выполнятся в рабочие дни с 09:00 до 18:00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Աշխատանքները իրականացվելու են աշխատանքային օրերին 09:00</a:t>
            </a:r>
            <a:r>
              <a:rPr lang="ru-RU" sz="800" dirty="0">
                <a:solidFill>
                  <a:schemeClr val="dk1"/>
                </a:solidFill>
              </a:rPr>
              <a:t> -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ից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մինչև</a:t>
            </a:r>
            <a:r>
              <a:rPr lang="hy-AM" sz="800" dirty="0">
                <a:solidFill>
                  <a:schemeClr val="dk1"/>
                </a:solidFill>
              </a:rPr>
              <a:t> 18։00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6" name="Rounded Rectangle 45"/>
          <p:cNvSpPr/>
          <p:nvPr/>
        </p:nvSpPr>
        <p:spPr>
          <a:xfrm>
            <a:off x="6074230" y="3830278"/>
            <a:ext cx="5746147" cy="394546"/>
          </a:xfrm>
          <a:prstGeom prst="roundRect">
            <a:avLst>
              <a:gd name="adj" fmla="val 10000"/>
            </a:avLst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Компания несет ответственность за ущерб </a:t>
            </a:r>
            <a:r>
              <a:rPr lang="ru-RU" sz="800" dirty="0" smtClean="0"/>
              <a:t>причинённый  </a:t>
            </a:r>
            <a:r>
              <a:rPr lang="ru-RU" sz="800" dirty="0"/>
              <a:t>во время выполнения работ. </a:t>
            </a:r>
            <a:endParaRPr lang="hy-AM" sz="800" dirty="0" smtClean="0"/>
          </a:p>
          <a:p>
            <a:r>
              <a:rPr lang="en-US" sz="800" dirty="0" err="1" smtClean="0">
                <a:solidFill>
                  <a:schemeClr val="tx1"/>
                </a:solidFill>
              </a:rPr>
              <a:t>Ընկերությունը</a:t>
            </a:r>
            <a:r>
              <a:rPr lang="en-US" sz="800" dirty="0" smtClean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ասխանատվություն</a:t>
            </a:r>
            <a:r>
              <a:rPr lang="en-US" sz="800" dirty="0">
                <a:solidFill>
                  <a:schemeClr val="tx1"/>
                </a:solidFill>
              </a:rPr>
              <a:t> է </a:t>
            </a:r>
            <a:r>
              <a:rPr lang="en-US" sz="800" dirty="0" err="1">
                <a:solidFill>
                  <a:schemeClr val="tx1"/>
                </a:solidFill>
              </a:rPr>
              <a:t>կր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շխատանք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ընթացք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պրանքին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ճառած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վնասներ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համար</a:t>
            </a:r>
            <a:r>
              <a:rPr lang="en-US" sz="800" dirty="0" smtClean="0">
                <a:solidFill>
                  <a:schemeClr val="tx1"/>
                </a:solidFill>
              </a:rPr>
              <a:t>: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7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48954" y="4288340"/>
            <a:ext cx="2921474" cy="411277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Поля для обязательного заполнения</a:t>
            </a:r>
            <a:endParaRPr lang="en-US" sz="800" dirty="0">
              <a:solidFill>
                <a:schemeClr val="dk1"/>
              </a:solidFill>
            </a:endParaRPr>
          </a:p>
          <a:p>
            <a:pPr algn="ctr"/>
            <a:r>
              <a:rPr lang="hy-AM" sz="800" dirty="0" smtClean="0">
                <a:solidFill>
                  <a:schemeClr val="dk1"/>
                </a:solidFill>
              </a:rPr>
              <a:t>Դաշտեր </a:t>
            </a:r>
            <a:r>
              <a:rPr lang="hy-AM" sz="800" dirty="0">
                <a:solidFill>
                  <a:schemeClr val="dk1"/>
                </a:solidFill>
              </a:rPr>
              <a:t>պարտադիր լրացման համար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31" name="Down Arrow 30"/>
          <p:cNvSpPr/>
          <p:nvPr/>
        </p:nvSpPr>
        <p:spPr>
          <a:xfrm>
            <a:off x="6756089" y="4722864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450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roup 5">
            <a:extLst>
              <a:ext uri="{FF2B5EF4-FFF2-40B4-BE49-F238E27FC236}">
                <a16:creationId xmlns:a16="http://schemas.microsoft.com/office/drawing/2014/main" id="{248B7D0E-879C-4BF2-8A0D-571098ABDAA2}"/>
              </a:ext>
            </a:extLst>
          </p:cNvPr>
          <p:cNvGrpSpPr/>
          <p:nvPr/>
        </p:nvGrpSpPr>
        <p:grpSpPr>
          <a:xfrm rot="10800000">
            <a:off x="266871" y="554580"/>
            <a:ext cx="11436869" cy="454618"/>
            <a:chOff x="7158385" y="1187391"/>
            <a:chExt cx="4699226" cy="506581"/>
          </a:xfrm>
        </p:grpSpPr>
        <p:sp>
          <p:nvSpPr>
            <p:cNvPr id="44" name="Freeform: Shape 7">
              <a:extLst>
                <a:ext uri="{FF2B5EF4-FFF2-40B4-BE49-F238E27FC236}">
                  <a16:creationId xmlns:a16="http://schemas.microsoft.com/office/drawing/2014/main" id="{940CCDBC-2F25-443B-B0FD-C3012DC69D19}"/>
                </a:ext>
              </a:extLst>
            </p:cNvPr>
            <p:cNvSpPr/>
            <p:nvPr/>
          </p:nvSpPr>
          <p:spPr>
            <a:xfrm flipH="1">
              <a:off x="11375625" y="1187391"/>
              <a:ext cx="481986" cy="503406"/>
            </a:xfrm>
            <a:custGeom>
              <a:avLst/>
              <a:gdLst>
                <a:gd name="connsiteX0" fmla="*/ 197679 w 481986"/>
                <a:gd name="connsiteY0" fmla="*/ 0 h 503406"/>
                <a:gd name="connsiteX1" fmla="*/ 481986 w 481986"/>
                <a:gd name="connsiteY1" fmla="*/ 0 h 503406"/>
                <a:gd name="connsiteX2" fmla="*/ 481986 w 481986"/>
                <a:gd name="connsiteY2" fmla="*/ 503406 h 503406"/>
                <a:gd name="connsiteX3" fmla="*/ 473173 w 481986"/>
                <a:gd name="connsiteY3" fmla="*/ 503406 h 503406"/>
                <a:gd name="connsiteX4" fmla="*/ 197679 w 481986"/>
                <a:gd name="connsiteY4" fmla="*/ 503406 h 503406"/>
                <a:gd name="connsiteX5" fmla="*/ 0 w 481986"/>
                <a:gd name="connsiteY5" fmla="*/ 251703 h 503406"/>
                <a:gd name="connsiteX6" fmla="*/ 197679 w 481986"/>
                <a:gd name="connsiteY6" fmla="*/ 0 h 50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986" h="503406">
                  <a:moveTo>
                    <a:pt x="197679" y="0"/>
                  </a:moveTo>
                  <a:lnTo>
                    <a:pt x="481986" y="0"/>
                  </a:lnTo>
                  <a:lnTo>
                    <a:pt x="481986" y="503406"/>
                  </a:lnTo>
                  <a:lnTo>
                    <a:pt x="473173" y="503406"/>
                  </a:lnTo>
                  <a:lnTo>
                    <a:pt x="197679" y="503406"/>
                  </a:lnTo>
                  <a:cubicBezTo>
                    <a:pt x="88504" y="503406"/>
                    <a:pt x="0" y="390715"/>
                    <a:pt x="0" y="251703"/>
                  </a:cubicBezTo>
                  <a:cubicBezTo>
                    <a:pt x="0" y="112691"/>
                    <a:pt x="88504" y="0"/>
                    <a:pt x="197679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Freeform: Shape 6">
              <a:extLst>
                <a:ext uri="{FF2B5EF4-FFF2-40B4-BE49-F238E27FC236}">
                  <a16:creationId xmlns:a16="http://schemas.microsoft.com/office/drawing/2014/main" id="{80CA7EE1-C806-48E4-AB48-03B0FA0558EC}"/>
                </a:ext>
              </a:extLst>
            </p:cNvPr>
            <p:cNvSpPr>
              <a:spLocks/>
            </p:cNvSpPr>
            <p:nvPr/>
          </p:nvSpPr>
          <p:spPr>
            <a:xfrm flipH="1">
              <a:off x="7158385" y="1187391"/>
              <a:ext cx="4559175" cy="506581"/>
            </a:xfrm>
            <a:custGeom>
              <a:avLst/>
              <a:gdLst>
                <a:gd name="connsiteX0" fmla="*/ 311236 w 6224306"/>
                <a:gd name="connsiteY0" fmla="*/ 0 h 622472"/>
                <a:gd name="connsiteX1" fmla="*/ 968865 w 6224306"/>
                <a:gd name="connsiteY1" fmla="*/ 0 h 622472"/>
                <a:gd name="connsiteX2" fmla="*/ 1469856 w 6224306"/>
                <a:gd name="connsiteY2" fmla="*/ 0 h 622472"/>
                <a:gd name="connsiteX3" fmla="*/ 1936731 w 6224306"/>
                <a:gd name="connsiteY3" fmla="*/ 0 h 622472"/>
                <a:gd name="connsiteX4" fmla="*/ 2127485 w 6224306"/>
                <a:gd name="connsiteY4" fmla="*/ 0 h 622472"/>
                <a:gd name="connsiteX5" fmla="*/ 2581960 w 6224306"/>
                <a:gd name="connsiteY5" fmla="*/ 0 h 622472"/>
                <a:gd name="connsiteX6" fmla="*/ 3095351 w 6224306"/>
                <a:gd name="connsiteY6" fmla="*/ 0 h 622472"/>
                <a:gd name="connsiteX7" fmla="*/ 3740580 w 6224306"/>
                <a:gd name="connsiteY7" fmla="*/ 0 h 622472"/>
                <a:gd name="connsiteX8" fmla="*/ 4050345 w 6224306"/>
                <a:gd name="connsiteY8" fmla="*/ 0 h 622472"/>
                <a:gd name="connsiteX9" fmla="*/ 5065686 w 6224306"/>
                <a:gd name="connsiteY9" fmla="*/ 0 h 622472"/>
                <a:gd name="connsiteX10" fmla="*/ 5208965 w 6224306"/>
                <a:gd name="connsiteY10" fmla="*/ 0 h 622472"/>
                <a:gd name="connsiteX11" fmla="*/ 6224306 w 6224306"/>
                <a:gd name="connsiteY11" fmla="*/ 0 h 622472"/>
                <a:gd name="connsiteX12" fmla="*/ 6000428 w 6224306"/>
                <a:gd name="connsiteY12" fmla="*/ 622472 h 622472"/>
                <a:gd name="connsiteX13" fmla="*/ 4985087 w 6224306"/>
                <a:gd name="connsiteY13" fmla="*/ 622472 h 622472"/>
                <a:gd name="connsiteX14" fmla="*/ 4841808 w 6224306"/>
                <a:gd name="connsiteY14" fmla="*/ 622472 h 622472"/>
                <a:gd name="connsiteX15" fmla="*/ 3826467 w 6224306"/>
                <a:gd name="connsiteY15" fmla="*/ 622472 h 622472"/>
                <a:gd name="connsiteX16" fmla="*/ 3516702 w 6224306"/>
                <a:gd name="connsiteY16" fmla="*/ 622472 h 622472"/>
                <a:gd name="connsiteX17" fmla="*/ 3095351 w 6224306"/>
                <a:gd name="connsiteY17" fmla="*/ 622472 h 622472"/>
                <a:gd name="connsiteX18" fmla="*/ 2358082 w 6224306"/>
                <a:gd name="connsiteY18" fmla="*/ 622472 h 622472"/>
                <a:gd name="connsiteX19" fmla="*/ 1936731 w 6224306"/>
                <a:gd name="connsiteY19" fmla="*/ 622472 h 622472"/>
                <a:gd name="connsiteX20" fmla="*/ 1903607 w 6224306"/>
                <a:gd name="connsiteY20" fmla="*/ 622472 h 622472"/>
                <a:gd name="connsiteX21" fmla="*/ 1469856 w 6224306"/>
                <a:gd name="connsiteY21" fmla="*/ 622472 h 622472"/>
                <a:gd name="connsiteX22" fmla="*/ 744987 w 6224306"/>
                <a:gd name="connsiteY22" fmla="*/ 622472 h 622472"/>
                <a:gd name="connsiteX23" fmla="*/ 311236 w 6224306"/>
                <a:gd name="connsiteY23" fmla="*/ 622472 h 622472"/>
                <a:gd name="connsiteX24" fmla="*/ 0 w 6224306"/>
                <a:gd name="connsiteY24" fmla="*/ 311236 h 622472"/>
                <a:gd name="connsiteX25" fmla="*/ 311236 w 6224306"/>
                <a:gd name="connsiteY25" fmla="*/ 0 h 622472"/>
                <a:gd name="connsiteX0" fmla="*/ 311236 w 6595843"/>
                <a:gd name="connsiteY0" fmla="*/ 0 h 631786"/>
                <a:gd name="connsiteX1" fmla="*/ 968865 w 6595843"/>
                <a:gd name="connsiteY1" fmla="*/ 0 h 631786"/>
                <a:gd name="connsiteX2" fmla="*/ 1469856 w 6595843"/>
                <a:gd name="connsiteY2" fmla="*/ 0 h 631786"/>
                <a:gd name="connsiteX3" fmla="*/ 1936731 w 6595843"/>
                <a:gd name="connsiteY3" fmla="*/ 0 h 631786"/>
                <a:gd name="connsiteX4" fmla="*/ 2127485 w 6595843"/>
                <a:gd name="connsiteY4" fmla="*/ 0 h 631786"/>
                <a:gd name="connsiteX5" fmla="*/ 2581960 w 6595843"/>
                <a:gd name="connsiteY5" fmla="*/ 0 h 631786"/>
                <a:gd name="connsiteX6" fmla="*/ 3095351 w 6595843"/>
                <a:gd name="connsiteY6" fmla="*/ 0 h 631786"/>
                <a:gd name="connsiteX7" fmla="*/ 3740580 w 6595843"/>
                <a:gd name="connsiteY7" fmla="*/ 0 h 631786"/>
                <a:gd name="connsiteX8" fmla="*/ 4050345 w 6595843"/>
                <a:gd name="connsiteY8" fmla="*/ 0 h 631786"/>
                <a:gd name="connsiteX9" fmla="*/ 5065686 w 6595843"/>
                <a:gd name="connsiteY9" fmla="*/ 0 h 631786"/>
                <a:gd name="connsiteX10" fmla="*/ 5208965 w 6595843"/>
                <a:gd name="connsiteY10" fmla="*/ 0 h 631786"/>
                <a:gd name="connsiteX11" fmla="*/ 6224306 w 6595843"/>
                <a:gd name="connsiteY11" fmla="*/ 0 h 631786"/>
                <a:gd name="connsiteX12" fmla="*/ 6595843 w 6595843"/>
                <a:gd name="connsiteY12" fmla="*/ 631786 h 631786"/>
                <a:gd name="connsiteX13" fmla="*/ 4985087 w 6595843"/>
                <a:gd name="connsiteY13" fmla="*/ 622472 h 631786"/>
                <a:gd name="connsiteX14" fmla="*/ 4841808 w 6595843"/>
                <a:gd name="connsiteY14" fmla="*/ 622472 h 631786"/>
                <a:gd name="connsiteX15" fmla="*/ 3826467 w 6595843"/>
                <a:gd name="connsiteY15" fmla="*/ 622472 h 631786"/>
                <a:gd name="connsiteX16" fmla="*/ 3516702 w 6595843"/>
                <a:gd name="connsiteY16" fmla="*/ 622472 h 631786"/>
                <a:gd name="connsiteX17" fmla="*/ 3095351 w 6595843"/>
                <a:gd name="connsiteY17" fmla="*/ 622472 h 631786"/>
                <a:gd name="connsiteX18" fmla="*/ 2358082 w 6595843"/>
                <a:gd name="connsiteY18" fmla="*/ 622472 h 631786"/>
                <a:gd name="connsiteX19" fmla="*/ 1936731 w 6595843"/>
                <a:gd name="connsiteY19" fmla="*/ 622472 h 631786"/>
                <a:gd name="connsiteX20" fmla="*/ 1903607 w 6595843"/>
                <a:gd name="connsiteY20" fmla="*/ 622472 h 631786"/>
                <a:gd name="connsiteX21" fmla="*/ 1469856 w 6595843"/>
                <a:gd name="connsiteY21" fmla="*/ 622472 h 631786"/>
                <a:gd name="connsiteX22" fmla="*/ 744987 w 6595843"/>
                <a:gd name="connsiteY22" fmla="*/ 622472 h 631786"/>
                <a:gd name="connsiteX23" fmla="*/ 311236 w 6595843"/>
                <a:gd name="connsiteY23" fmla="*/ 622472 h 631786"/>
                <a:gd name="connsiteX24" fmla="*/ 0 w 6595843"/>
                <a:gd name="connsiteY24" fmla="*/ 311236 h 631786"/>
                <a:gd name="connsiteX25" fmla="*/ 311236 w 6595843"/>
                <a:gd name="connsiteY25" fmla="*/ 0 h 631786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24306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57587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68916 w 6270827"/>
                <a:gd name="connsiteY0" fmla="*/ 0 h 624801"/>
                <a:gd name="connsiteX1" fmla="*/ 726545 w 6270827"/>
                <a:gd name="connsiteY1" fmla="*/ 0 h 624801"/>
                <a:gd name="connsiteX2" fmla="*/ 1227536 w 6270827"/>
                <a:gd name="connsiteY2" fmla="*/ 0 h 624801"/>
                <a:gd name="connsiteX3" fmla="*/ 1694411 w 6270827"/>
                <a:gd name="connsiteY3" fmla="*/ 0 h 624801"/>
                <a:gd name="connsiteX4" fmla="*/ 1885165 w 6270827"/>
                <a:gd name="connsiteY4" fmla="*/ 0 h 624801"/>
                <a:gd name="connsiteX5" fmla="*/ 2339640 w 6270827"/>
                <a:gd name="connsiteY5" fmla="*/ 0 h 624801"/>
                <a:gd name="connsiteX6" fmla="*/ 2853031 w 6270827"/>
                <a:gd name="connsiteY6" fmla="*/ 0 h 624801"/>
                <a:gd name="connsiteX7" fmla="*/ 3498260 w 6270827"/>
                <a:gd name="connsiteY7" fmla="*/ 0 h 624801"/>
                <a:gd name="connsiteX8" fmla="*/ 3808025 w 6270827"/>
                <a:gd name="connsiteY8" fmla="*/ 0 h 624801"/>
                <a:gd name="connsiteX9" fmla="*/ 4823366 w 6270827"/>
                <a:gd name="connsiteY9" fmla="*/ 0 h 624801"/>
                <a:gd name="connsiteX10" fmla="*/ 4966645 w 6270827"/>
                <a:gd name="connsiteY10" fmla="*/ 0 h 624801"/>
                <a:gd name="connsiteX11" fmla="*/ 6015267 w 6270827"/>
                <a:gd name="connsiteY11" fmla="*/ 0 h 624801"/>
                <a:gd name="connsiteX12" fmla="*/ 6270827 w 6270827"/>
                <a:gd name="connsiteY12" fmla="*/ 624801 h 624801"/>
                <a:gd name="connsiteX13" fmla="*/ 4742767 w 6270827"/>
                <a:gd name="connsiteY13" fmla="*/ 622472 h 624801"/>
                <a:gd name="connsiteX14" fmla="*/ 4599488 w 6270827"/>
                <a:gd name="connsiteY14" fmla="*/ 622472 h 624801"/>
                <a:gd name="connsiteX15" fmla="*/ 3584147 w 6270827"/>
                <a:gd name="connsiteY15" fmla="*/ 622472 h 624801"/>
                <a:gd name="connsiteX16" fmla="*/ 3274382 w 6270827"/>
                <a:gd name="connsiteY16" fmla="*/ 622472 h 624801"/>
                <a:gd name="connsiteX17" fmla="*/ 2853031 w 6270827"/>
                <a:gd name="connsiteY17" fmla="*/ 622472 h 624801"/>
                <a:gd name="connsiteX18" fmla="*/ 2115762 w 6270827"/>
                <a:gd name="connsiteY18" fmla="*/ 622472 h 624801"/>
                <a:gd name="connsiteX19" fmla="*/ 1694411 w 6270827"/>
                <a:gd name="connsiteY19" fmla="*/ 622472 h 624801"/>
                <a:gd name="connsiteX20" fmla="*/ 1661287 w 6270827"/>
                <a:gd name="connsiteY20" fmla="*/ 622472 h 624801"/>
                <a:gd name="connsiteX21" fmla="*/ 1227536 w 6270827"/>
                <a:gd name="connsiteY21" fmla="*/ 622472 h 624801"/>
                <a:gd name="connsiteX22" fmla="*/ 502667 w 6270827"/>
                <a:gd name="connsiteY22" fmla="*/ 622472 h 624801"/>
                <a:gd name="connsiteX23" fmla="*/ 68916 w 6270827"/>
                <a:gd name="connsiteY23" fmla="*/ 622472 h 624801"/>
                <a:gd name="connsiteX24" fmla="*/ 68916 w 6270827"/>
                <a:gd name="connsiteY24" fmla="*/ 0 h 62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70827" h="624801">
                  <a:moveTo>
                    <a:pt x="68916" y="0"/>
                  </a:moveTo>
                  <a:lnTo>
                    <a:pt x="726545" y="0"/>
                  </a:lnTo>
                  <a:lnTo>
                    <a:pt x="1227536" y="0"/>
                  </a:lnTo>
                  <a:lnTo>
                    <a:pt x="1694411" y="0"/>
                  </a:lnTo>
                  <a:lnTo>
                    <a:pt x="1885165" y="0"/>
                  </a:lnTo>
                  <a:lnTo>
                    <a:pt x="2339640" y="0"/>
                  </a:lnTo>
                  <a:lnTo>
                    <a:pt x="2853031" y="0"/>
                  </a:lnTo>
                  <a:lnTo>
                    <a:pt x="3498260" y="0"/>
                  </a:lnTo>
                  <a:lnTo>
                    <a:pt x="3808025" y="0"/>
                  </a:lnTo>
                  <a:lnTo>
                    <a:pt x="4823366" y="0"/>
                  </a:lnTo>
                  <a:lnTo>
                    <a:pt x="4966645" y="0"/>
                  </a:lnTo>
                  <a:lnTo>
                    <a:pt x="6015267" y="0"/>
                  </a:lnTo>
                  <a:lnTo>
                    <a:pt x="6270827" y="624801"/>
                  </a:lnTo>
                  <a:lnTo>
                    <a:pt x="4742767" y="622472"/>
                  </a:lnTo>
                  <a:lnTo>
                    <a:pt x="4599488" y="622472"/>
                  </a:lnTo>
                  <a:lnTo>
                    <a:pt x="3584147" y="622472"/>
                  </a:lnTo>
                  <a:lnTo>
                    <a:pt x="3274382" y="622472"/>
                  </a:lnTo>
                  <a:lnTo>
                    <a:pt x="2853031" y="622472"/>
                  </a:lnTo>
                  <a:lnTo>
                    <a:pt x="2115762" y="622472"/>
                  </a:lnTo>
                  <a:lnTo>
                    <a:pt x="1694411" y="622472"/>
                  </a:lnTo>
                  <a:lnTo>
                    <a:pt x="1661287" y="622472"/>
                  </a:lnTo>
                  <a:lnTo>
                    <a:pt x="1227536" y="622472"/>
                  </a:lnTo>
                  <a:lnTo>
                    <a:pt x="502667" y="622472"/>
                  </a:lnTo>
                  <a:lnTo>
                    <a:pt x="68916" y="622472"/>
                  </a:lnTo>
                  <a:cubicBezTo>
                    <a:pt x="-3376" y="518727"/>
                    <a:pt x="-40689" y="103745"/>
                    <a:pt x="68916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Title 1"/>
          <p:cNvSpPr txBox="1">
            <a:spLocks/>
          </p:cNvSpPr>
          <p:nvPr/>
        </p:nvSpPr>
        <p:spPr bwMode="auto">
          <a:xfrm>
            <a:off x="266870" y="363490"/>
            <a:ext cx="11436870" cy="700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endParaRPr lang="ru-RU" sz="12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Перевозка </a:t>
            </a:r>
            <a:r>
              <a:rPr lang="ru-RU" sz="1200" dirty="0">
                <a:solidFill>
                  <a:schemeClr val="bg1"/>
                </a:solidFill>
                <a:latin typeface="Georgia" panose="02040502050405020303" pitchFamily="18" charset="0"/>
              </a:rPr>
              <a:t>сейфов из 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здания </a:t>
            </a:r>
            <a:r>
              <a:rPr lang="ru-RU" sz="1200" dirty="0" err="1" smtClean="0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35</a:t>
            </a:r>
            <a:endParaRPr lang="en-US" sz="12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R="0" lvl="0"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Մոսկովյան </a:t>
            </a:r>
            <a:r>
              <a:rPr lang="hy-AM" sz="1200" dirty="0">
                <a:solidFill>
                  <a:schemeClr val="bg1"/>
                </a:solidFill>
                <a:latin typeface="Georgia" panose="02040502050405020303" pitchFamily="18" charset="0"/>
              </a:rPr>
              <a:t>35 հասցեից սեյֆերի տեղափոխում</a:t>
            </a:r>
            <a:endParaRPr lang="ru-RU" sz="12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marR="0" lvl="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35;</a:t>
            </a:r>
            <a:endParaRPr lang="ru-RU" sz="1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5B82B39-FA39-4517-A727-7BE6AAEA7F1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8" y="230189"/>
            <a:ext cx="1047114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ВТБ </a:t>
            </a:r>
            <a:r>
              <a:rPr lang="ru-RU" sz="1800" dirty="0" smtClean="0"/>
              <a:t>Армения</a:t>
            </a:r>
            <a:endParaRPr lang="ru-RU" sz="1800" dirty="0"/>
          </a:p>
        </p:txBody>
      </p:sp>
      <p:sp>
        <p:nvSpPr>
          <p:cNvPr id="26" name="Slide Number Placeholder 40"/>
          <p:cNvSpPr txBox="1">
            <a:spLocks/>
          </p:cNvSpPr>
          <p:nvPr/>
        </p:nvSpPr>
        <p:spPr>
          <a:xfrm>
            <a:off x="9448800" y="632708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3" name="Rectangle 32"/>
          <p:cNvSpPr/>
          <p:nvPr/>
        </p:nvSpPr>
        <p:spPr>
          <a:xfrm>
            <a:off x="9586497" y="-2587"/>
            <a:ext cx="2233880" cy="54109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4" name="Picture 1" descr="VTB_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316" y="67799"/>
            <a:ext cx="853303" cy="49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ounded Rectangle 23"/>
          <p:cNvSpPr/>
          <p:nvPr/>
        </p:nvSpPr>
        <p:spPr>
          <a:xfrm>
            <a:off x="238868" y="1624198"/>
            <a:ext cx="5659012" cy="206933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Во время перевозки сейфов компания должна предоставить бригаду грузчиков, количество грузчиков не менее 8 человек и больше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Սեյֆերի տեղափոխման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r>
              <a:rPr lang="hy-AM" sz="800" dirty="0">
                <a:solidFill>
                  <a:schemeClr val="dk1"/>
                </a:solidFill>
              </a:rPr>
              <a:t>ժամանակ ընկերությունը պետք է տրամադրի բանվորական բրիգադ, որը պետք է բաղկացած լինի նվազագույնը 8 հոգուց և ավելին։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Количество человек зависит от предполагаемого объема работ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Մարդկանց քանակը կախված է առաջարկվող աշխատանքների ծավալից: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Команда должна взять на себя вынос сейфов, правильную погрузку, крепление внутри салона машины, разгрузку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Խումբը պետք է իր վրա վերցնի սեյֆերի դուրսբերումը, ճիշտ բեռնումը, մեքենայի սրահի ներսում ամրացումը և բեռնաթափումը:</a:t>
            </a:r>
            <a:endParaRPr lang="ru-RU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Все перевозки будут осуществлены на территории г. Ереван, а именно по адресам: </a:t>
            </a:r>
            <a:r>
              <a:rPr lang="ru-RU" sz="800" dirty="0" err="1"/>
              <a:t>Мазманяна</a:t>
            </a:r>
            <a:r>
              <a:rPr lang="ru-RU" sz="800" dirty="0"/>
              <a:t> 5, </a:t>
            </a:r>
            <a:r>
              <a:rPr lang="ru-RU" sz="800" dirty="0" err="1"/>
              <a:t>Манандяна</a:t>
            </a:r>
            <a:r>
              <a:rPr lang="ru-RU" sz="800" dirty="0"/>
              <a:t> 33/3 и </a:t>
            </a:r>
            <a:r>
              <a:rPr lang="ru-RU" sz="800" dirty="0" err="1"/>
              <a:t>Аргишти</a:t>
            </a:r>
            <a:r>
              <a:rPr lang="ru-RU" sz="800" dirty="0"/>
              <a:t> 7/8</a:t>
            </a:r>
          </a:p>
          <a:p>
            <a:r>
              <a:rPr lang="hy-AM" altLang="en-US" sz="800" dirty="0">
                <a:solidFill>
                  <a:srgbClr val="202124"/>
                </a:solidFill>
                <a:latin typeface="inherit"/>
              </a:rPr>
              <a:t>Բոլոր փոխադրումները իրականացվելու են ք․ </a:t>
            </a:r>
            <a:r>
              <a:rPr lang="hy-AM" altLang="en-US" sz="800" dirty="0" err="1">
                <a:solidFill>
                  <a:srgbClr val="202124"/>
                </a:solidFill>
                <a:latin typeface="inherit"/>
              </a:rPr>
              <a:t>Երևանում</a:t>
            </a:r>
            <a:r>
              <a:rPr lang="hy-AM" altLang="en-US" sz="800" dirty="0">
                <a:solidFill>
                  <a:srgbClr val="202124"/>
                </a:solidFill>
                <a:latin typeface="inherit"/>
              </a:rPr>
              <a:t>՝ </a:t>
            </a:r>
            <a:r>
              <a:rPr lang="hy-AM" sz="800" dirty="0"/>
              <a:t>Մազմանյան 5, Մանանդյան 33/3, Արգիշտի 7/8․</a:t>
            </a:r>
            <a:endParaRPr lang="ru-RU" sz="800" dirty="0"/>
          </a:p>
          <a:p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>
          <a:xfrm>
            <a:off x="6034594" y="1592088"/>
            <a:ext cx="5700205" cy="210144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Во время перевозки сейфов </a:t>
            </a:r>
            <a:r>
              <a:rPr lang="ru-RU" sz="800" dirty="0" smtClean="0"/>
              <a:t>компания </a:t>
            </a:r>
            <a:r>
              <a:rPr lang="ru-RU" sz="800" dirty="0"/>
              <a:t>должна предоставить транспортное средство</a:t>
            </a:r>
            <a:r>
              <a:rPr lang="hy-AM" sz="800" dirty="0"/>
              <a:t> </a:t>
            </a:r>
            <a:endParaRPr lang="en-US" sz="800" dirty="0"/>
          </a:p>
          <a:p>
            <a:r>
              <a:rPr lang="hy-AM" sz="800" dirty="0"/>
              <a:t>Սեյֆերի </a:t>
            </a:r>
            <a:r>
              <a:rPr lang="hy-AM" sz="800" dirty="0" smtClean="0"/>
              <a:t>տեղափոխման </a:t>
            </a:r>
            <a:r>
              <a:rPr lang="hy-AM" sz="800" dirty="0"/>
              <a:t>ժամանակ ընկերությունը պետք է տրամադրի տրանսպորտային միջոց։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Габариты кузова грузовых автомобилей должны быть</a:t>
            </a:r>
            <a:r>
              <a:rPr lang="hy-AM" sz="800" dirty="0"/>
              <a:t>: </a:t>
            </a:r>
            <a:r>
              <a:rPr lang="ru-RU" sz="800" dirty="0"/>
              <a:t>длина - 3 м, ширина - 2 м и высота – 1.8 м </a:t>
            </a:r>
            <a:endParaRPr lang="en-US" sz="800" dirty="0"/>
          </a:p>
          <a:p>
            <a:r>
              <a:rPr lang="hy-AM" sz="800" dirty="0"/>
              <a:t>Բեռնատար մեքենաների չափսերը պետք է լինեն՝ երկարություն – 3մ, լայնություն – 2մ, բարձրություն – 1.8մ․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hy-AM" sz="800" dirty="0"/>
          </a:p>
          <a:p>
            <a:r>
              <a:rPr lang="ru-RU" sz="800" dirty="0"/>
              <a:t>Транспортное средство должно быть оборудовано специальными креплениями</a:t>
            </a:r>
            <a:endParaRPr lang="en-US" sz="800" dirty="0"/>
          </a:p>
          <a:p>
            <a:r>
              <a:rPr lang="hy-AM" sz="800" dirty="0"/>
              <a:t>Տրանսպորտային միջոցը պետք է հագեցած լինի հատուկ </a:t>
            </a:r>
            <a:r>
              <a:rPr lang="hy-AM" sz="800" dirty="0" err="1" smtClean="0"/>
              <a:t>ամրագոտիներով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Вид кузова: Тент</a:t>
            </a:r>
            <a:endParaRPr lang="en-US" sz="800" dirty="0"/>
          </a:p>
          <a:p>
            <a:r>
              <a:rPr lang="hy-AM" sz="800" dirty="0"/>
              <a:t>Թափքի տեսակ՝ </a:t>
            </a:r>
            <a:r>
              <a:rPr lang="hy-AM" sz="800" dirty="0" err="1"/>
              <a:t>տենտ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Грузоподъемность:</a:t>
            </a:r>
            <a:r>
              <a:rPr lang="hy-AM" sz="800" dirty="0"/>
              <a:t> 1.5 </a:t>
            </a:r>
            <a:r>
              <a:rPr lang="ru-RU" sz="800" dirty="0"/>
              <a:t>тонн</a:t>
            </a:r>
            <a:r>
              <a:rPr lang="en-US" sz="800" dirty="0"/>
              <a:t> </a:t>
            </a:r>
            <a:r>
              <a:rPr lang="ru-RU" sz="800" dirty="0"/>
              <a:t> </a:t>
            </a:r>
            <a:r>
              <a:rPr lang="hy-AM" sz="800" dirty="0"/>
              <a:t> </a:t>
            </a:r>
          </a:p>
          <a:p>
            <a:r>
              <a:rPr lang="hy-AM" sz="800" dirty="0" smtClean="0"/>
              <a:t>Բեռնատարողությունը՝ </a:t>
            </a:r>
            <a:r>
              <a:rPr lang="hy-AM" sz="800" dirty="0"/>
              <a:t>1.5 տոննա</a:t>
            </a:r>
            <a:endParaRPr lang="ru-RU" sz="800" dirty="0"/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15" b="1"/>
          <a:stretch/>
        </p:blipFill>
        <p:spPr>
          <a:xfrm>
            <a:off x="9850513" y="4364125"/>
            <a:ext cx="1673451" cy="2285994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644" y="4364125"/>
            <a:ext cx="1722165" cy="2284249"/>
          </a:xfrm>
          <a:prstGeom prst="rect">
            <a:avLst/>
          </a:prstGeom>
        </p:spPr>
      </p:pic>
      <p:sp>
        <p:nvSpPr>
          <p:cNvPr id="46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664005" y="1138780"/>
            <a:ext cx="2965146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Рабочая </a:t>
            </a:r>
            <a:r>
              <a:rPr lang="ru-RU" sz="800" dirty="0" smtClean="0">
                <a:solidFill>
                  <a:schemeClr val="dk1"/>
                </a:solidFill>
              </a:rPr>
              <a:t>сил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անվորական ուժ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7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51332" y="1131424"/>
            <a:ext cx="3784667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Грузовая </a:t>
            </a:r>
            <a:r>
              <a:rPr lang="ru-RU" sz="800" dirty="0" smtClean="0">
                <a:solidFill>
                  <a:schemeClr val="dk1"/>
                </a:solidFill>
              </a:rPr>
              <a:t>машин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եռնատար ավտոմեքենա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19" name="Down Arrow 18"/>
          <p:cNvSpPr/>
          <p:nvPr/>
        </p:nvSpPr>
        <p:spPr>
          <a:xfrm>
            <a:off x="3090431" y="1479044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0" name="Down Arrow 19"/>
          <p:cNvSpPr/>
          <p:nvPr/>
        </p:nvSpPr>
        <p:spPr>
          <a:xfrm>
            <a:off x="8827205" y="1476324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7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366915" y="4388481"/>
            <a:ext cx="2487127" cy="411277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Поля для обязательного заполнения</a:t>
            </a:r>
            <a:endParaRPr lang="en-US" sz="800" dirty="0">
              <a:solidFill>
                <a:schemeClr val="dk1"/>
              </a:solidFill>
            </a:endParaRPr>
          </a:p>
          <a:p>
            <a:pPr algn="ctr"/>
            <a:r>
              <a:rPr lang="hy-AM" sz="800" dirty="0" smtClean="0">
                <a:solidFill>
                  <a:schemeClr val="dk1"/>
                </a:solidFill>
              </a:rPr>
              <a:t>Դաշտեր </a:t>
            </a:r>
            <a:r>
              <a:rPr lang="hy-AM" sz="800" dirty="0">
                <a:solidFill>
                  <a:schemeClr val="dk1"/>
                </a:solidFill>
              </a:rPr>
              <a:t>պարտադիր լրացման համար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6774050" y="4821917"/>
            <a:ext cx="84036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31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6726097"/>
              </p:ext>
            </p:extLst>
          </p:nvPr>
        </p:nvGraphicFramePr>
        <p:xfrm>
          <a:off x="91145" y="4944286"/>
          <a:ext cx="7387341" cy="1365504"/>
        </p:xfrm>
        <a:graphic>
          <a:graphicData uri="http://schemas.openxmlformats.org/drawingml/2006/table">
            <a:tbl>
              <a:tblPr/>
              <a:tblGrid>
                <a:gridCol w="6048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38943">
                  <a:extLst>
                    <a:ext uri="{9D8B030D-6E8A-4147-A177-3AD203B41FA5}">
                      <a16:colId xmlns:a16="http://schemas.microsoft.com/office/drawing/2014/main" val="2955368908"/>
                    </a:ext>
                  </a:extLst>
                </a:gridCol>
              </a:tblGrid>
              <a:tr h="575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Необходимо предоставить стоимость перевозки сейфов  грузовой машиной (длина 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3 м, ширина - 2 м и высота – 1.8 м) </a:t>
                      </a:r>
                      <a:endParaRPr lang="en-US" sz="80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 один выезд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սեյֆերի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ru-RU" sz="800" dirty="0" smtClean="0"/>
                        <a:t> (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3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մ, լայնություն – 2մ, բարձրություն – 1.8մ․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53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*Необходимо предоставить стоимость перевозки сейфов  грузовой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ашиной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длина 4 м, ширина - 2 м и высота – 1.8 м) </a:t>
                      </a:r>
                      <a:endParaRPr lang="en-US" sz="800" dirty="0" smtClean="0">
                        <a:solidFill>
                          <a:schemeClr val="dk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за один выезд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սեյֆերի</a:t>
                      </a:r>
                      <a:r>
                        <a:rPr lang="hy-AM" sz="800" dirty="0" smtClean="0"/>
                        <a:t>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ru-RU" sz="800" dirty="0" smtClean="0"/>
                        <a:t> (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4 </a:t>
                      </a:r>
                      <a:r>
                        <a:rPr lang="hy-AM" sz="800" dirty="0" smtClean="0">
                          <a:solidFill>
                            <a:schemeClr val="dk1"/>
                          </a:solidFill>
                        </a:rPr>
                        <a:t>մ, լայնություն – 2մ, բարձրություն – 1.8մ․</a:t>
                      </a:r>
                      <a:r>
                        <a:rPr lang="ru-RU" sz="800" dirty="0" smtClean="0">
                          <a:solidFill>
                            <a:schemeClr val="dk1"/>
                          </a:solidFill>
                        </a:rPr>
                        <a:t>)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4111549"/>
                  </a:ext>
                </a:extLst>
              </a:tr>
            </a:tbl>
          </a:graphicData>
        </a:graphic>
      </p:graphicFrame>
      <p:sp>
        <p:nvSpPr>
          <p:cNvPr id="40" name="Rectangle 39"/>
          <p:cNvSpPr/>
          <p:nvPr/>
        </p:nvSpPr>
        <p:spPr>
          <a:xfrm>
            <a:off x="16759" y="6319098"/>
            <a:ext cx="73882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*цена должна быть указан</a:t>
            </a:r>
            <a:r>
              <a:rPr lang="ru-RU" sz="800" kern="1400" dirty="0">
                <a:solidFill>
                  <a:srgbClr val="FF0000"/>
                </a:solidFill>
                <a:latin typeface="Calibri" panose="020F0502020204030204" pitchFamily="34" charset="0"/>
              </a:rPr>
              <a:t>а</a:t>
            </a:r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за один выезд, за полностью загруженную машину</a:t>
            </a:r>
          </a:p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endParaRPr lang="en-US" sz="800" kern="14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41" name="Rectangle 1"/>
          <p:cNvSpPr>
            <a:spLocks noChangeArrowheads="1"/>
          </p:cNvSpPr>
          <p:nvPr/>
        </p:nvSpPr>
        <p:spPr bwMode="auto">
          <a:xfrm>
            <a:off x="114727" y="6500179"/>
            <a:ext cx="5012591" cy="1128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*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գինը պետք է նշված լինի մեկ ուղղության համար, ամբողջությամբ բեռնված մեքենայի համար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</a:rPr>
              <a:t> </a:t>
            </a:r>
            <a:endParaRPr kumimoji="0" lang="hy-AM" altLang="en-US" sz="900" b="0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2" name="Rounded Rectangle 41"/>
          <p:cNvSpPr/>
          <p:nvPr/>
        </p:nvSpPr>
        <p:spPr>
          <a:xfrm>
            <a:off x="91148" y="3821860"/>
            <a:ext cx="5856057" cy="38053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Работы будут выполнятся в рабочие дни с 09:00 до 18:00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Աշխատանքները իրականացվելու են աշխատանքային օրերին 09:00</a:t>
            </a:r>
            <a:r>
              <a:rPr lang="ru-RU" sz="800" dirty="0">
                <a:solidFill>
                  <a:schemeClr val="dk1"/>
                </a:solidFill>
              </a:rPr>
              <a:t> -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ից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մինչև</a:t>
            </a:r>
            <a:r>
              <a:rPr lang="hy-AM" sz="800" dirty="0">
                <a:solidFill>
                  <a:schemeClr val="dk1"/>
                </a:solidFill>
              </a:rPr>
              <a:t> 18։00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8" name="Rounded Rectangle 47"/>
          <p:cNvSpPr/>
          <p:nvPr/>
        </p:nvSpPr>
        <p:spPr>
          <a:xfrm>
            <a:off x="6034594" y="3830278"/>
            <a:ext cx="5785783" cy="394546"/>
          </a:xfrm>
          <a:prstGeom prst="roundRect">
            <a:avLst>
              <a:gd name="adj" fmla="val 10000"/>
            </a:avLst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Компания несет ответственность за ущерб </a:t>
            </a:r>
            <a:r>
              <a:rPr lang="ru-RU" sz="800" dirty="0" smtClean="0"/>
              <a:t>причинённый  </a:t>
            </a:r>
            <a:r>
              <a:rPr lang="ru-RU" sz="800" dirty="0"/>
              <a:t>во время выполнения работ. </a:t>
            </a:r>
            <a:endParaRPr lang="hy-AM" sz="800" dirty="0" smtClean="0"/>
          </a:p>
          <a:p>
            <a:r>
              <a:rPr lang="en-US" sz="800" dirty="0" err="1" smtClean="0">
                <a:solidFill>
                  <a:schemeClr val="tx1"/>
                </a:solidFill>
              </a:rPr>
              <a:t>Ընկերությունը</a:t>
            </a:r>
            <a:r>
              <a:rPr lang="en-US" sz="800" dirty="0" smtClean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ասխանատվություն</a:t>
            </a:r>
            <a:r>
              <a:rPr lang="en-US" sz="800" dirty="0">
                <a:solidFill>
                  <a:schemeClr val="tx1"/>
                </a:solidFill>
              </a:rPr>
              <a:t> է </a:t>
            </a:r>
            <a:r>
              <a:rPr lang="en-US" sz="800" dirty="0" err="1">
                <a:solidFill>
                  <a:schemeClr val="tx1"/>
                </a:solidFill>
              </a:rPr>
              <a:t>կր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շխատանք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ընթացք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պրանքին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ճառած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վնասներ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համար</a:t>
            </a:r>
            <a:r>
              <a:rPr lang="en-US" sz="800" dirty="0" smtClean="0">
                <a:solidFill>
                  <a:schemeClr val="tx1"/>
                </a:solidFill>
              </a:rPr>
              <a:t>: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40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5">
            <a:extLst>
              <a:ext uri="{FF2B5EF4-FFF2-40B4-BE49-F238E27FC236}">
                <a16:creationId xmlns:a16="http://schemas.microsoft.com/office/drawing/2014/main" id="{248B7D0E-879C-4BF2-8A0D-571098ABDAA2}"/>
              </a:ext>
            </a:extLst>
          </p:cNvPr>
          <p:cNvGrpSpPr/>
          <p:nvPr/>
        </p:nvGrpSpPr>
        <p:grpSpPr>
          <a:xfrm rot="10800000">
            <a:off x="266871" y="554580"/>
            <a:ext cx="11436869" cy="454618"/>
            <a:chOff x="7158385" y="1187391"/>
            <a:chExt cx="4699226" cy="506581"/>
          </a:xfrm>
        </p:grpSpPr>
        <p:sp>
          <p:nvSpPr>
            <p:cNvPr id="39" name="Freeform: Shape 7">
              <a:extLst>
                <a:ext uri="{FF2B5EF4-FFF2-40B4-BE49-F238E27FC236}">
                  <a16:creationId xmlns:a16="http://schemas.microsoft.com/office/drawing/2014/main" id="{940CCDBC-2F25-443B-B0FD-C3012DC69D19}"/>
                </a:ext>
              </a:extLst>
            </p:cNvPr>
            <p:cNvSpPr/>
            <p:nvPr/>
          </p:nvSpPr>
          <p:spPr>
            <a:xfrm flipH="1">
              <a:off x="11375625" y="1187391"/>
              <a:ext cx="481986" cy="503406"/>
            </a:xfrm>
            <a:custGeom>
              <a:avLst/>
              <a:gdLst>
                <a:gd name="connsiteX0" fmla="*/ 197679 w 481986"/>
                <a:gd name="connsiteY0" fmla="*/ 0 h 503406"/>
                <a:gd name="connsiteX1" fmla="*/ 481986 w 481986"/>
                <a:gd name="connsiteY1" fmla="*/ 0 h 503406"/>
                <a:gd name="connsiteX2" fmla="*/ 481986 w 481986"/>
                <a:gd name="connsiteY2" fmla="*/ 503406 h 503406"/>
                <a:gd name="connsiteX3" fmla="*/ 473173 w 481986"/>
                <a:gd name="connsiteY3" fmla="*/ 503406 h 503406"/>
                <a:gd name="connsiteX4" fmla="*/ 197679 w 481986"/>
                <a:gd name="connsiteY4" fmla="*/ 503406 h 503406"/>
                <a:gd name="connsiteX5" fmla="*/ 0 w 481986"/>
                <a:gd name="connsiteY5" fmla="*/ 251703 h 503406"/>
                <a:gd name="connsiteX6" fmla="*/ 197679 w 481986"/>
                <a:gd name="connsiteY6" fmla="*/ 0 h 503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81986" h="503406">
                  <a:moveTo>
                    <a:pt x="197679" y="0"/>
                  </a:moveTo>
                  <a:lnTo>
                    <a:pt x="481986" y="0"/>
                  </a:lnTo>
                  <a:lnTo>
                    <a:pt x="481986" y="503406"/>
                  </a:lnTo>
                  <a:lnTo>
                    <a:pt x="473173" y="503406"/>
                  </a:lnTo>
                  <a:lnTo>
                    <a:pt x="197679" y="503406"/>
                  </a:lnTo>
                  <a:cubicBezTo>
                    <a:pt x="88504" y="503406"/>
                    <a:pt x="0" y="390715"/>
                    <a:pt x="0" y="251703"/>
                  </a:cubicBezTo>
                  <a:cubicBezTo>
                    <a:pt x="0" y="112691"/>
                    <a:pt x="88504" y="0"/>
                    <a:pt x="197679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  <p:sp>
          <p:nvSpPr>
            <p:cNvPr id="40" name="Freeform: Shape 6">
              <a:extLst>
                <a:ext uri="{FF2B5EF4-FFF2-40B4-BE49-F238E27FC236}">
                  <a16:creationId xmlns:a16="http://schemas.microsoft.com/office/drawing/2014/main" id="{80CA7EE1-C806-48E4-AB48-03B0FA0558EC}"/>
                </a:ext>
              </a:extLst>
            </p:cNvPr>
            <p:cNvSpPr>
              <a:spLocks/>
            </p:cNvSpPr>
            <p:nvPr/>
          </p:nvSpPr>
          <p:spPr>
            <a:xfrm flipH="1">
              <a:off x="7158385" y="1187391"/>
              <a:ext cx="4559175" cy="506581"/>
            </a:xfrm>
            <a:custGeom>
              <a:avLst/>
              <a:gdLst>
                <a:gd name="connsiteX0" fmla="*/ 311236 w 6224306"/>
                <a:gd name="connsiteY0" fmla="*/ 0 h 622472"/>
                <a:gd name="connsiteX1" fmla="*/ 968865 w 6224306"/>
                <a:gd name="connsiteY1" fmla="*/ 0 h 622472"/>
                <a:gd name="connsiteX2" fmla="*/ 1469856 w 6224306"/>
                <a:gd name="connsiteY2" fmla="*/ 0 h 622472"/>
                <a:gd name="connsiteX3" fmla="*/ 1936731 w 6224306"/>
                <a:gd name="connsiteY3" fmla="*/ 0 h 622472"/>
                <a:gd name="connsiteX4" fmla="*/ 2127485 w 6224306"/>
                <a:gd name="connsiteY4" fmla="*/ 0 h 622472"/>
                <a:gd name="connsiteX5" fmla="*/ 2581960 w 6224306"/>
                <a:gd name="connsiteY5" fmla="*/ 0 h 622472"/>
                <a:gd name="connsiteX6" fmla="*/ 3095351 w 6224306"/>
                <a:gd name="connsiteY6" fmla="*/ 0 h 622472"/>
                <a:gd name="connsiteX7" fmla="*/ 3740580 w 6224306"/>
                <a:gd name="connsiteY7" fmla="*/ 0 h 622472"/>
                <a:gd name="connsiteX8" fmla="*/ 4050345 w 6224306"/>
                <a:gd name="connsiteY8" fmla="*/ 0 h 622472"/>
                <a:gd name="connsiteX9" fmla="*/ 5065686 w 6224306"/>
                <a:gd name="connsiteY9" fmla="*/ 0 h 622472"/>
                <a:gd name="connsiteX10" fmla="*/ 5208965 w 6224306"/>
                <a:gd name="connsiteY10" fmla="*/ 0 h 622472"/>
                <a:gd name="connsiteX11" fmla="*/ 6224306 w 6224306"/>
                <a:gd name="connsiteY11" fmla="*/ 0 h 622472"/>
                <a:gd name="connsiteX12" fmla="*/ 6000428 w 6224306"/>
                <a:gd name="connsiteY12" fmla="*/ 622472 h 622472"/>
                <a:gd name="connsiteX13" fmla="*/ 4985087 w 6224306"/>
                <a:gd name="connsiteY13" fmla="*/ 622472 h 622472"/>
                <a:gd name="connsiteX14" fmla="*/ 4841808 w 6224306"/>
                <a:gd name="connsiteY14" fmla="*/ 622472 h 622472"/>
                <a:gd name="connsiteX15" fmla="*/ 3826467 w 6224306"/>
                <a:gd name="connsiteY15" fmla="*/ 622472 h 622472"/>
                <a:gd name="connsiteX16" fmla="*/ 3516702 w 6224306"/>
                <a:gd name="connsiteY16" fmla="*/ 622472 h 622472"/>
                <a:gd name="connsiteX17" fmla="*/ 3095351 w 6224306"/>
                <a:gd name="connsiteY17" fmla="*/ 622472 h 622472"/>
                <a:gd name="connsiteX18" fmla="*/ 2358082 w 6224306"/>
                <a:gd name="connsiteY18" fmla="*/ 622472 h 622472"/>
                <a:gd name="connsiteX19" fmla="*/ 1936731 w 6224306"/>
                <a:gd name="connsiteY19" fmla="*/ 622472 h 622472"/>
                <a:gd name="connsiteX20" fmla="*/ 1903607 w 6224306"/>
                <a:gd name="connsiteY20" fmla="*/ 622472 h 622472"/>
                <a:gd name="connsiteX21" fmla="*/ 1469856 w 6224306"/>
                <a:gd name="connsiteY21" fmla="*/ 622472 h 622472"/>
                <a:gd name="connsiteX22" fmla="*/ 744987 w 6224306"/>
                <a:gd name="connsiteY22" fmla="*/ 622472 h 622472"/>
                <a:gd name="connsiteX23" fmla="*/ 311236 w 6224306"/>
                <a:gd name="connsiteY23" fmla="*/ 622472 h 622472"/>
                <a:gd name="connsiteX24" fmla="*/ 0 w 6224306"/>
                <a:gd name="connsiteY24" fmla="*/ 311236 h 622472"/>
                <a:gd name="connsiteX25" fmla="*/ 311236 w 6224306"/>
                <a:gd name="connsiteY25" fmla="*/ 0 h 622472"/>
                <a:gd name="connsiteX0" fmla="*/ 311236 w 6595843"/>
                <a:gd name="connsiteY0" fmla="*/ 0 h 631786"/>
                <a:gd name="connsiteX1" fmla="*/ 968865 w 6595843"/>
                <a:gd name="connsiteY1" fmla="*/ 0 h 631786"/>
                <a:gd name="connsiteX2" fmla="*/ 1469856 w 6595843"/>
                <a:gd name="connsiteY2" fmla="*/ 0 h 631786"/>
                <a:gd name="connsiteX3" fmla="*/ 1936731 w 6595843"/>
                <a:gd name="connsiteY3" fmla="*/ 0 h 631786"/>
                <a:gd name="connsiteX4" fmla="*/ 2127485 w 6595843"/>
                <a:gd name="connsiteY4" fmla="*/ 0 h 631786"/>
                <a:gd name="connsiteX5" fmla="*/ 2581960 w 6595843"/>
                <a:gd name="connsiteY5" fmla="*/ 0 h 631786"/>
                <a:gd name="connsiteX6" fmla="*/ 3095351 w 6595843"/>
                <a:gd name="connsiteY6" fmla="*/ 0 h 631786"/>
                <a:gd name="connsiteX7" fmla="*/ 3740580 w 6595843"/>
                <a:gd name="connsiteY7" fmla="*/ 0 h 631786"/>
                <a:gd name="connsiteX8" fmla="*/ 4050345 w 6595843"/>
                <a:gd name="connsiteY8" fmla="*/ 0 h 631786"/>
                <a:gd name="connsiteX9" fmla="*/ 5065686 w 6595843"/>
                <a:gd name="connsiteY9" fmla="*/ 0 h 631786"/>
                <a:gd name="connsiteX10" fmla="*/ 5208965 w 6595843"/>
                <a:gd name="connsiteY10" fmla="*/ 0 h 631786"/>
                <a:gd name="connsiteX11" fmla="*/ 6224306 w 6595843"/>
                <a:gd name="connsiteY11" fmla="*/ 0 h 631786"/>
                <a:gd name="connsiteX12" fmla="*/ 6595843 w 6595843"/>
                <a:gd name="connsiteY12" fmla="*/ 631786 h 631786"/>
                <a:gd name="connsiteX13" fmla="*/ 4985087 w 6595843"/>
                <a:gd name="connsiteY13" fmla="*/ 622472 h 631786"/>
                <a:gd name="connsiteX14" fmla="*/ 4841808 w 6595843"/>
                <a:gd name="connsiteY14" fmla="*/ 622472 h 631786"/>
                <a:gd name="connsiteX15" fmla="*/ 3826467 w 6595843"/>
                <a:gd name="connsiteY15" fmla="*/ 622472 h 631786"/>
                <a:gd name="connsiteX16" fmla="*/ 3516702 w 6595843"/>
                <a:gd name="connsiteY16" fmla="*/ 622472 h 631786"/>
                <a:gd name="connsiteX17" fmla="*/ 3095351 w 6595843"/>
                <a:gd name="connsiteY17" fmla="*/ 622472 h 631786"/>
                <a:gd name="connsiteX18" fmla="*/ 2358082 w 6595843"/>
                <a:gd name="connsiteY18" fmla="*/ 622472 h 631786"/>
                <a:gd name="connsiteX19" fmla="*/ 1936731 w 6595843"/>
                <a:gd name="connsiteY19" fmla="*/ 622472 h 631786"/>
                <a:gd name="connsiteX20" fmla="*/ 1903607 w 6595843"/>
                <a:gd name="connsiteY20" fmla="*/ 622472 h 631786"/>
                <a:gd name="connsiteX21" fmla="*/ 1469856 w 6595843"/>
                <a:gd name="connsiteY21" fmla="*/ 622472 h 631786"/>
                <a:gd name="connsiteX22" fmla="*/ 744987 w 6595843"/>
                <a:gd name="connsiteY22" fmla="*/ 622472 h 631786"/>
                <a:gd name="connsiteX23" fmla="*/ 311236 w 6595843"/>
                <a:gd name="connsiteY23" fmla="*/ 622472 h 631786"/>
                <a:gd name="connsiteX24" fmla="*/ 0 w 6595843"/>
                <a:gd name="connsiteY24" fmla="*/ 311236 h 631786"/>
                <a:gd name="connsiteX25" fmla="*/ 311236 w 6595843"/>
                <a:gd name="connsiteY25" fmla="*/ 0 h 631786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24306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311236 w 6513147"/>
                <a:gd name="connsiteY0" fmla="*/ 0 h 624801"/>
                <a:gd name="connsiteX1" fmla="*/ 968865 w 6513147"/>
                <a:gd name="connsiteY1" fmla="*/ 0 h 624801"/>
                <a:gd name="connsiteX2" fmla="*/ 1469856 w 6513147"/>
                <a:gd name="connsiteY2" fmla="*/ 0 h 624801"/>
                <a:gd name="connsiteX3" fmla="*/ 1936731 w 6513147"/>
                <a:gd name="connsiteY3" fmla="*/ 0 h 624801"/>
                <a:gd name="connsiteX4" fmla="*/ 2127485 w 6513147"/>
                <a:gd name="connsiteY4" fmla="*/ 0 h 624801"/>
                <a:gd name="connsiteX5" fmla="*/ 2581960 w 6513147"/>
                <a:gd name="connsiteY5" fmla="*/ 0 h 624801"/>
                <a:gd name="connsiteX6" fmla="*/ 3095351 w 6513147"/>
                <a:gd name="connsiteY6" fmla="*/ 0 h 624801"/>
                <a:gd name="connsiteX7" fmla="*/ 3740580 w 6513147"/>
                <a:gd name="connsiteY7" fmla="*/ 0 h 624801"/>
                <a:gd name="connsiteX8" fmla="*/ 4050345 w 6513147"/>
                <a:gd name="connsiteY8" fmla="*/ 0 h 624801"/>
                <a:gd name="connsiteX9" fmla="*/ 5065686 w 6513147"/>
                <a:gd name="connsiteY9" fmla="*/ 0 h 624801"/>
                <a:gd name="connsiteX10" fmla="*/ 5208965 w 6513147"/>
                <a:gd name="connsiteY10" fmla="*/ 0 h 624801"/>
                <a:gd name="connsiteX11" fmla="*/ 6257587 w 6513147"/>
                <a:gd name="connsiteY11" fmla="*/ 0 h 624801"/>
                <a:gd name="connsiteX12" fmla="*/ 6513147 w 6513147"/>
                <a:gd name="connsiteY12" fmla="*/ 624801 h 624801"/>
                <a:gd name="connsiteX13" fmla="*/ 4985087 w 6513147"/>
                <a:gd name="connsiteY13" fmla="*/ 622472 h 624801"/>
                <a:gd name="connsiteX14" fmla="*/ 4841808 w 6513147"/>
                <a:gd name="connsiteY14" fmla="*/ 622472 h 624801"/>
                <a:gd name="connsiteX15" fmla="*/ 3826467 w 6513147"/>
                <a:gd name="connsiteY15" fmla="*/ 622472 h 624801"/>
                <a:gd name="connsiteX16" fmla="*/ 3516702 w 6513147"/>
                <a:gd name="connsiteY16" fmla="*/ 622472 h 624801"/>
                <a:gd name="connsiteX17" fmla="*/ 3095351 w 6513147"/>
                <a:gd name="connsiteY17" fmla="*/ 622472 h 624801"/>
                <a:gd name="connsiteX18" fmla="*/ 2358082 w 6513147"/>
                <a:gd name="connsiteY18" fmla="*/ 622472 h 624801"/>
                <a:gd name="connsiteX19" fmla="*/ 1936731 w 6513147"/>
                <a:gd name="connsiteY19" fmla="*/ 622472 h 624801"/>
                <a:gd name="connsiteX20" fmla="*/ 1903607 w 6513147"/>
                <a:gd name="connsiteY20" fmla="*/ 622472 h 624801"/>
                <a:gd name="connsiteX21" fmla="*/ 1469856 w 6513147"/>
                <a:gd name="connsiteY21" fmla="*/ 622472 h 624801"/>
                <a:gd name="connsiteX22" fmla="*/ 744987 w 6513147"/>
                <a:gd name="connsiteY22" fmla="*/ 622472 h 624801"/>
                <a:gd name="connsiteX23" fmla="*/ 311236 w 6513147"/>
                <a:gd name="connsiteY23" fmla="*/ 622472 h 624801"/>
                <a:gd name="connsiteX24" fmla="*/ 0 w 6513147"/>
                <a:gd name="connsiteY24" fmla="*/ 311236 h 624801"/>
                <a:gd name="connsiteX25" fmla="*/ 311236 w 6513147"/>
                <a:gd name="connsiteY25" fmla="*/ 0 h 624801"/>
                <a:gd name="connsiteX0" fmla="*/ 68916 w 6270827"/>
                <a:gd name="connsiteY0" fmla="*/ 0 h 624801"/>
                <a:gd name="connsiteX1" fmla="*/ 726545 w 6270827"/>
                <a:gd name="connsiteY1" fmla="*/ 0 h 624801"/>
                <a:gd name="connsiteX2" fmla="*/ 1227536 w 6270827"/>
                <a:gd name="connsiteY2" fmla="*/ 0 h 624801"/>
                <a:gd name="connsiteX3" fmla="*/ 1694411 w 6270827"/>
                <a:gd name="connsiteY3" fmla="*/ 0 h 624801"/>
                <a:gd name="connsiteX4" fmla="*/ 1885165 w 6270827"/>
                <a:gd name="connsiteY4" fmla="*/ 0 h 624801"/>
                <a:gd name="connsiteX5" fmla="*/ 2339640 w 6270827"/>
                <a:gd name="connsiteY5" fmla="*/ 0 h 624801"/>
                <a:gd name="connsiteX6" fmla="*/ 2853031 w 6270827"/>
                <a:gd name="connsiteY6" fmla="*/ 0 h 624801"/>
                <a:gd name="connsiteX7" fmla="*/ 3498260 w 6270827"/>
                <a:gd name="connsiteY7" fmla="*/ 0 h 624801"/>
                <a:gd name="connsiteX8" fmla="*/ 3808025 w 6270827"/>
                <a:gd name="connsiteY8" fmla="*/ 0 h 624801"/>
                <a:gd name="connsiteX9" fmla="*/ 4823366 w 6270827"/>
                <a:gd name="connsiteY9" fmla="*/ 0 h 624801"/>
                <a:gd name="connsiteX10" fmla="*/ 4966645 w 6270827"/>
                <a:gd name="connsiteY10" fmla="*/ 0 h 624801"/>
                <a:gd name="connsiteX11" fmla="*/ 6015267 w 6270827"/>
                <a:gd name="connsiteY11" fmla="*/ 0 h 624801"/>
                <a:gd name="connsiteX12" fmla="*/ 6270827 w 6270827"/>
                <a:gd name="connsiteY12" fmla="*/ 624801 h 624801"/>
                <a:gd name="connsiteX13" fmla="*/ 4742767 w 6270827"/>
                <a:gd name="connsiteY13" fmla="*/ 622472 h 624801"/>
                <a:gd name="connsiteX14" fmla="*/ 4599488 w 6270827"/>
                <a:gd name="connsiteY14" fmla="*/ 622472 h 624801"/>
                <a:gd name="connsiteX15" fmla="*/ 3584147 w 6270827"/>
                <a:gd name="connsiteY15" fmla="*/ 622472 h 624801"/>
                <a:gd name="connsiteX16" fmla="*/ 3274382 w 6270827"/>
                <a:gd name="connsiteY16" fmla="*/ 622472 h 624801"/>
                <a:gd name="connsiteX17" fmla="*/ 2853031 w 6270827"/>
                <a:gd name="connsiteY17" fmla="*/ 622472 h 624801"/>
                <a:gd name="connsiteX18" fmla="*/ 2115762 w 6270827"/>
                <a:gd name="connsiteY18" fmla="*/ 622472 h 624801"/>
                <a:gd name="connsiteX19" fmla="*/ 1694411 w 6270827"/>
                <a:gd name="connsiteY19" fmla="*/ 622472 h 624801"/>
                <a:gd name="connsiteX20" fmla="*/ 1661287 w 6270827"/>
                <a:gd name="connsiteY20" fmla="*/ 622472 h 624801"/>
                <a:gd name="connsiteX21" fmla="*/ 1227536 w 6270827"/>
                <a:gd name="connsiteY21" fmla="*/ 622472 h 624801"/>
                <a:gd name="connsiteX22" fmla="*/ 502667 w 6270827"/>
                <a:gd name="connsiteY22" fmla="*/ 622472 h 624801"/>
                <a:gd name="connsiteX23" fmla="*/ 68916 w 6270827"/>
                <a:gd name="connsiteY23" fmla="*/ 622472 h 624801"/>
                <a:gd name="connsiteX24" fmla="*/ 68916 w 6270827"/>
                <a:gd name="connsiteY24" fmla="*/ 0 h 624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6270827" h="624801">
                  <a:moveTo>
                    <a:pt x="68916" y="0"/>
                  </a:moveTo>
                  <a:lnTo>
                    <a:pt x="726545" y="0"/>
                  </a:lnTo>
                  <a:lnTo>
                    <a:pt x="1227536" y="0"/>
                  </a:lnTo>
                  <a:lnTo>
                    <a:pt x="1694411" y="0"/>
                  </a:lnTo>
                  <a:lnTo>
                    <a:pt x="1885165" y="0"/>
                  </a:lnTo>
                  <a:lnTo>
                    <a:pt x="2339640" y="0"/>
                  </a:lnTo>
                  <a:lnTo>
                    <a:pt x="2853031" y="0"/>
                  </a:lnTo>
                  <a:lnTo>
                    <a:pt x="3498260" y="0"/>
                  </a:lnTo>
                  <a:lnTo>
                    <a:pt x="3808025" y="0"/>
                  </a:lnTo>
                  <a:lnTo>
                    <a:pt x="4823366" y="0"/>
                  </a:lnTo>
                  <a:lnTo>
                    <a:pt x="4966645" y="0"/>
                  </a:lnTo>
                  <a:lnTo>
                    <a:pt x="6015267" y="0"/>
                  </a:lnTo>
                  <a:lnTo>
                    <a:pt x="6270827" y="624801"/>
                  </a:lnTo>
                  <a:lnTo>
                    <a:pt x="4742767" y="622472"/>
                  </a:lnTo>
                  <a:lnTo>
                    <a:pt x="4599488" y="622472"/>
                  </a:lnTo>
                  <a:lnTo>
                    <a:pt x="3584147" y="622472"/>
                  </a:lnTo>
                  <a:lnTo>
                    <a:pt x="3274382" y="622472"/>
                  </a:lnTo>
                  <a:lnTo>
                    <a:pt x="2853031" y="622472"/>
                  </a:lnTo>
                  <a:lnTo>
                    <a:pt x="2115762" y="622472"/>
                  </a:lnTo>
                  <a:lnTo>
                    <a:pt x="1694411" y="622472"/>
                  </a:lnTo>
                  <a:lnTo>
                    <a:pt x="1661287" y="622472"/>
                  </a:lnTo>
                  <a:lnTo>
                    <a:pt x="1227536" y="622472"/>
                  </a:lnTo>
                  <a:lnTo>
                    <a:pt x="502667" y="622472"/>
                  </a:lnTo>
                  <a:lnTo>
                    <a:pt x="68916" y="622472"/>
                  </a:lnTo>
                  <a:cubicBezTo>
                    <a:pt x="-3376" y="518727"/>
                    <a:pt x="-40689" y="103745"/>
                    <a:pt x="68916" y="0"/>
                  </a:cubicBezTo>
                  <a:close/>
                </a:path>
              </a:pathLst>
            </a:cu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32" name="Title 1"/>
          <p:cNvSpPr txBox="1">
            <a:spLocks/>
          </p:cNvSpPr>
          <p:nvPr/>
        </p:nvSpPr>
        <p:spPr bwMode="auto">
          <a:xfrm>
            <a:off x="266870" y="321047"/>
            <a:ext cx="11436870" cy="807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119386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9851" algn="l"/>
              </a:tabLst>
              <a:defRPr sz="22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342900" marR="0" lvl="0" indent="-342900" algn="jus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"/>
            </a:pPr>
            <a:endParaRPr lang="ru-RU" sz="14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         </a:t>
            </a:r>
            <a:r>
              <a:rPr lang="ru-RU" sz="1200" dirty="0">
                <a:solidFill>
                  <a:schemeClr val="bg1"/>
                </a:solidFill>
                <a:latin typeface="Georgia" panose="02040502050405020303" pitchFamily="18" charset="0"/>
              </a:rPr>
              <a:t>Перевозка архива из здания </a:t>
            </a:r>
            <a:r>
              <a:rPr lang="ru-RU" sz="1200" dirty="0" err="1">
                <a:solidFill>
                  <a:schemeClr val="bg1"/>
                </a:solidFill>
                <a:latin typeface="Georgia" panose="02040502050405020303" pitchFamily="18" charset="0"/>
              </a:rPr>
              <a:t>Московяна</a:t>
            </a:r>
            <a:r>
              <a:rPr lang="ru-RU" sz="1200" dirty="0">
                <a:solidFill>
                  <a:schemeClr val="bg1"/>
                </a:solidFill>
                <a:latin typeface="Georgia" panose="02040502050405020303" pitchFamily="18" charset="0"/>
              </a:rPr>
              <a:t> 35 в здание по адресу </a:t>
            </a:r>
            <a:r>
              <a:rPr lang="ru-RU" sz="1200" dirty="0" err="1">
                <a:solidFill>
                  <a:schemeClr val="bg1"/>
                </a:solidFill>
                <a:latin typeface="Georgia" panose="02040502050405020303" pitchFamily="18" charset="0"/>
              </a:rPr>
              <a:t>Мазманяна</a:t>
            </a:r>
            <a:r>
              <a:rPr lang="ru-RU" sz="1200" dirty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5</a:t>
            </a:r>
            <a:endParaRPr lang="en-US" sz="1200" dirty="0" smtClean="0">
              <a:solidFill>
                <a:schemeClr val="bg1"/>
              </a:solidFill>
              <a:latin typeface="Georgia" panose="02040502050405020303" pitchFamily="18" charset="0"/>
            </a:endParaRPr>
          </a:p>
          <a:p>
            <a:pPr algn="ctr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           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Մոսկովյան </a:t>
            </a:r>
            <a:r>
              <a:rPr lang="hy-AM" sz="1200" dirty="0">
                <a:solidFill>
                  <a:schemeClr val="bg1"/>
                </a:solidFill>
                <a:latin typeface="Georgia" panose="02040502050405020303" pitchFamily="18" charset="0"/>
              </a:rPr>
              <a:t>35 հասցեից արխիվային փաստաթղթերի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տեղափոխում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 </a:t>
            </a:r>
            <a:r>
              <a:rPr lang="hy-AM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Մազմանյան 5 հասցե</a:t>
            </a:r>
            <a:r>
              <a:rPr lang="ru-RU" sz="1200" dirty="0" smtClean="0">
                <a:solidFill>
                  <a:schemeClr val="bg1"/>
                </a:solidFill>
                <a:latin typeface="Georgia" panose="02040502050405020303" pitchFamily="18" charset="0"/>
              </a:rPr>
              <a:t>;</a:t>
            </a:r>
            <a:endParaRPr lang="en-US" sz="1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5B82B39-FA39-4517-A727-7BE6AAEA7F1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8" y="230189"/>
            <a:ext cx="1047114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ВТБ </a:t>
            </a:r>
            <a:r>
              <a:rPr lang="ru-RU" sz="1800" dirty="0" smtClean="0"/>
              <a:t>Армения</a:t>
            </a:r>
            <a:endParaRPr lang="ru-RU" sz="1800" dirty="0"/>
          </a:p>
        </p:txBody>
      </p:sp>
      <p:sp>
        <p:nvSpPr>
          <p:cNvPr id="26" name="Slide Number Placeholder 40"/>
          <p:cNvSpPr txBox="1">
            <a:spLocks/>
          </p:cNvSpPr>
          <p:nvPr/>
        </p:nvSpPr>
        <p:spPr>
          <a:xfrm>
            <a:off x="9448800" y="625850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3" name="Rectangle 32"/>
          <p:cNvSpPr/>
          <p:nvPr/>
        </p:nvSpPr>
        <p:spPr>
          <a:xfrm>
            <a:off x="9586497" y="-2587"/>
            <a:ext cx="2233880" cy="54109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4" name="Picture 1" descr="VTB_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316" y="124947"/>
            <a:ext cx="853303" cy="49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2" t="6967" r="6632"/>
          <a:stretch/>
        </p:blipFill>
        <p:spPr>
          <a:xfrm>
            <a:off x="10051030" y="5327342"/>
            <a:ext cx="1875478" cy="134756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49875" y="10789085"/>
            <a:ext cx="8229353" cy="325661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</a:pPr>
            <a:r>
              <a:rPr lang="ru-RU" sz="1100" dirty="0" smtClean="0">
                <a:solidFill>
                  <a:schemeClr val="tx1"/>
                </a:solidFill>
                <a:latin typeface="Franklin Gothic Medium Cond" panose="020B0606030402020204" pitchFamily="34" charset="0"/>
              </a:rPr>
              <a:t>По всем вопросам, связанным с архивацией  документов необходимо связаться с А. </a:t>
            </a:r>
            <a:r>
              <a:rPr lang="ru-RU" sz="1100" dirty="0" err="1" smtClean="0">
                <a:solidFill>
                  <a:schemeClr val="tx1"/>
                </a:solidFill>
                <a:latin typeface="Franklin Gothic Medium Cond" panose="020B0606030402020204" pitchFamily="34" charset="0"/>
              </a:rPr>
              <a:t>Варданяном</a:t>
            </a:r>
            <a:r>
              <a:rPr lang="ru-RU" sz="1100" dirty="0" smtClean="0">
                <a:solidFill>
                  <a:schemeClr val="tx1"/>
                </a:solidFill>
                <a:latin typeface="Franklin Gothic Medium Cond" panose="020B0606030402020204" pitchFamily="34" charset="0"/>
              </a:rPr>
              <a:t>, по номеру 82591</a:t>
            </a:r>
            <a:endParaRPr lang="en-US" sz="1100" dirty="0" err="1">
              <a:solidFill>
                <a:schemeClr val="tx1"/>
              </a:solidFill>
              <a:latin typeface="Franklin Gothic Medium Cond" panose="020B0606030402020204" pitchFamily="34" charset="0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7171" y="4860695"/>
            <a:ext cx="1750859" cy="1134815"/>
          </a:xfrm>
          <a:prstGeom prst="rect">
            <a:avLst/>
          </a:prstGeom>
        </p:spPr>
      </p:pic>
      <p:sp>
        <p:nvSpPr>
          <p:cNvPr id="50" name="Rounded Rectangle 49"/>
          <p:cNvSpPr/>
          <p:nvPr/>
        </p:nvSpPr>
        <p:spPr>
          <a:xfrm>
            <a:off x="158757" y="1594734"/>
            <a:ext cx="6259337" cy="2590542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Во время перевозки архива компания должна предоставить бригаду грузчиков, количество грузчиков не менее 4 человек и больше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Արխիվի տեղափոխման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r>
              <a:rPr lang="hy-AM" sz="800" dirty="0">
                <a:solidFill>
                  <a:schemeClr val="dk1"/>
                </a:solidFill>
              </a:rPr>
              <a:t>ժամանակ ընկերությունը պետք է տրամադրի բանվորական բրիգադ, որը պետք է բաղկացած լինի նվազագույնը 4 հոգուց և ավելին։</a:t>
            </a:r>
            <a:r>
              <a:rPr lang="ru-RU" sz="800" dirty="0">
                <a:solidFill>
                  <a:schemeClr val="dk1"/>
                </a:solidFill>
              </a:rPr>
              <a:t> 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Количество человек зависит от предполагаемого объема работ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Մարդկանց քանակը կախված է առաջարկվող աշխատանքների ծավալից:</a:t>
            </a:r>
            <a:r>
              <a:rPr lang="ru-RU" sz="800" dirty="0">
                <a:solidFill>
                  <a:schemeClr val="dk1"/>
                </a:solidFill>
              </a:rPr>
              <a:t>  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r>
              <a:rPr lang="ru-RU" sz="800" dirty="0">
                <a:solidFill>
                  <a:schemeClr val="dk1"/>
                </a:solidFill>
              </a:rPr>
              <a:t>Команда должна взять на себя вынос архивных документов уже упакованных с нашей стороны в архивные ящики, выполнить правильную погрузку и разгрузку в помещении, указанной с нашей стороны в г. Ереван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Խումբը պետք է իր վրա վերցնի արխիվային փաստաթղթերի դուրսբերումը, մեր կողմից արդեն իսկ արխիվային արկղերում փաթեթավորված, ճիշտ բեռնումը, մեքենայի սրահի ներսում ամրացումը և բեռնաթափումը մեր կողմից նշված </a:t>
            </a:r>
            <a:r>
              <a:rPr lang="hy-AM" sz="800" dirty="0" smtClean="0">
                <a:solidFill>
                  <a:schemeClr val="dk1"/>
                </a:solidFill>
              </a:rPr>
              <a:t>տարածքում, </a:t>
            </a:r>
            <a:r>
              <a:rPr lang="hy-AM" sz="800" dirty="0">
                <a:solidFill>
                  <a:schemeClr val="dk1"/>
                </a:solidFill>
              </a:rPr>
              <a:t>ք․ </a:t>
            </a:r>
            <a:r>
              <a:rPr lang="hy-AM" sz="800" dirty="0" err="1">
                <a:solidFill>
                  <a:schemeClr val="dk1"/>
                </a:solidFill>
              </a:rPr>
              <a:t>Երևանում</a:t>
            </a:r>
            <a:endParaRPr lang="en-US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52" name="Rounded Rectangle 51"/>
          <p:cNvSpPr/>
          <p:nvPr/>
        </p:nvSpPr>
        <p:spPr>
          <a:xfrm>
            <a:off x="6522720" y="1607090"/>
            <a:ext cx="5297656" cy="2578185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Во время перевозки архива</a:t>
            </a:r>
            <a:r>
              <a:rPr lang="ru-RU" sz="800" dirty="0" smtClean="0"/>
              <a:t> </a:t>
            </a:r>
            <a:r>
              <a:rPr lang="ru-RU" sz="800" dirty="0"/>
              <a:t>компания должна предоставить транспортное средство</a:t>
            </a:r>
            <a:r>
              <a:rPr lang="hy-AM" sz="800" dirty="0"/>
              <a:t> </a:t>
            </a:r>
            <a:endParaRPr lang="en-US" sz="800" dirty="0"/>
          </a:p>
          <a:p>
            <a:r>
              <a:rPr lang="hy-AM" sz="800" dirty="0"/>
              <a:t>Արխիվի </a:t>
            </a:r>
            <a:r>
              <a:rPr lang="hy-AM" sz="800" dirty="0" smtClean="0"/>
              <a:t>տեղափոխման </a:t>
            </a:r>
            <a:r>
              <a:rPr lang="hy-AM" sz="800" dirty="0"/>
              <a:t>ժամանակ ընկերությունը պետք է տրամադրի տրանսպորտային միջոց։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Габариты кузова грузовых автомобилей должны быть</a:t>
            </a:r>
            <a:r>
              <a:rPr lang="hy-AM" sz="800" dirty="0"/>
              <a:t>: </a:t>
            </a:r>
            <a:r>
              <a:rPr lang="ru-RU" sz="800" dirty="0"/>
              <a:t>длина - 3 м, ширина - 2 м и высота – 1.8 м </a:t>
            </a:r>
            <a:endParaRPr lang="en-US" sz="800" dirty="0"/>
          </a:p>
          <a:p>
            <a:r>
              <a:rPr lang="hy-AM" sz="800" dirty="0"/>
              <a:t>Բեռնատար մեքենաների չափսերը պետք է լինեն՝ երկարություն – 3մ, լայնություն – 2մ, բարձրություն – 1.8մ․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hy-AM" sz="800" dirty="0"/>
          </a:p>
          <a:p>
            <a:r>
              <a:rPr lang="ru-RU" sz="800" dirty="0"/>
              <a:t>Транспортное средство должно быть оборудовано специальными креплениями</a:t>
            </a:r>
            <a:endParaRPr lang="en-US" sz="800" dirty="0"/>
          </a:p>
          <a:p>
            <a:r>
              <a:rPr lang="hy-AM" sz="800" dirty="0"/>
              <a:t>Տրանսպորտային միջոցը պետք է հագեցած լինի հատուկ </a:t>
            </a:r>
            <a:r>
              <a:rPr lang="hy-AM" sz="800" dirty="0" err="1" smtClean="0"/>
              <a:t>ամրագոտիներով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Вид кузова: Тент</a:t>
            </a:r>
            <a:endParaRPr lang="en-US" sz="800" dirty="0"/>
          </a:p>
          <a:p>
            <a:r>
              <a:rPr lang="hy-AM" sz="800" dirty="0"/>
              <a:t>Թափքի տեսակ՝ </a:t>
            </a:r>
            <a:r>
              <a:rPr lang="hy-AM" sz="800" dirty="0" err="1"/>
              <a:t>տենտ</a:t>
            </a:r>
            <a:endParaRPr lang="en-US" sz="800" dirty="0"/>
          </a:p>
          <a:p>
            <a:pPr marL="285750" indent="-285750">
              <a:buFontTx/>
              <a:buChar char="-"/>
            </a:pPr>
            <a:endParaRPr lang="ru-RU" sz="800" dirty="0"/>
          </a:p>
          <a:p>
            <a:r>
              <a:rPr lang="ru-RU" sz="800" dirty="0"/>
              <a:t>Грузоподъемность:</a:t>
            </a:r>
            <a:r>
              <a:rPr lang="hy-AM" sz="800" dirty="0"/>
              <a:t> 1.5 </a:t>
            </a:r>
            <a:r>
              <a:rPr lang="ru-RU" sz="800" dirty="0"/>
              <a:t>тонн</a:t>
            </a:r>
            <a:r>
              <a:rPr lang="en-US" sz="800" dirty="0"/>
              <a:t> </a:t>
            </a:r>
            <a:r>
              <a:rPr lang="ru-RU" sz="800" dirty="0"/>
              <a:t> </a:t>
            </a:r>
            <a:r>
              <a:rPr lang="hy-AM" sz="800" dirty="0"/>
              <a:t> </a:t>
            </a:r>
          </a:p>
          <a:p>
            <a:r>
              <a:rPr lang="hy-AM" sz="800" dirty="0" smtClean="0"/>
              <a:t>Բեռնատարողությունը՝ </a:t>
            </a:r>
            <a:r>
              <a:rPr lang="hy-AM" sz="800" dirty="0"/>
              <a:t>1.5 տոննա</a:t>
            </a:r>
            <a:endParaRPr lang="ru-RU" sz="800" dirty="0"/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  <a:p>
            <a:pPr marL="285750" indent="-285750">
              <a:buFontTx/>
              <a:buChar char="-"/>
            </a:pPr>
            <a:endParaRPr lang="ru-RU" sz="800" dirty="0">
              <a:solidFill>
                <a:schemeClr val="dk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7784" y="5764577"/>
            <a:ext cx="869470" cy="869470"/>
          </a:xfrm>
          <a:prstGeom prst="rect">
            <a:avLst/>
          </a:prstGeom>
        </p:spPr>
      </p:pic>
      <p:sp>
        <p:nvSpPr>
          <p:cNvPr id="41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664005" y="1151840"/>
            <a:ext cx="2965146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Рабочая </a:t>
            </a:r>
            <a:r>
              <a:rPr lang="ru-RU" sz="800" dirty="0" smtClean="0">
                <a:solidFill>
                  <a:schemeClr val="dk1"/>
                </a:solidFill>
              </a:rPr>
              <a:t>сил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անվորական ուժ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2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51332" y="1128156"/>
            <a:ext cx="3784667" cy="308998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>
                <a:solidFill>
                  <a:schemeClr val="dk1"/>
                </a:solidFill>
              </a:rPr>
              <a:t>Грузовая </a:t>
            </a:r>
            <a:r>
              <a:rPr lang="ru-RU" sz="800" dirty="0" smtClean="0">
                <a:solidFill>
                  <a:schemeClr val="dk1"/>
                </a:solidFill>
              </a:rPr>
              <a:t>машина </a:t>
            </a:r>
            <a:r>
              <a:rPr lang="hy-AM" sz="800" dirty="0" smtClean="0">
                <a:solidFill>
                  <a:schemeClr val="dk1"/>
                </a:solidFill>
              </a:rPr>
              <a:t>/ </a:t>
            </a:r>
            <a:r>
              <a:rPr lang="hy-AM" sz="800" dirty="0">
                <a:solidFill>
                  <a:schemeClr val="dk1"/>
                </a:solidFill>
              </a:rPr>
              <a:t>Բեռնատար ավտոմեքենա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21" name="Down Arrow 20"/>
          <p:cNvSpPr/>
          <p:nvPr/>
        </p:nvSpPr>
        <p:spPr>
          <a:xfrm>
            <a:off x="3090431" y="1475776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2" name="Down Arrow 21"/>
          <p:cNvSpPr/>
          <p:nvPr/>
        </p:nvSpPr>
        <p:spPr>
          <a:xfrm>
            <a:off x="8827205" y="1473056"/>
            <a:ext cx="98712" cy="113888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graphicFrame>
        <p:nvGraphicFramePr>
          <p:cNvPr id="27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5105894"/>
              </p:ext>
            </p:extLst>
          </p:nvPr>
        </p:nvGraphicFramePr>
        <p:xfrm>
          <a:off x="182586" y="5369173"/>
          <a:ext cx="7411832" cy="335363"/>
        </p:xfrm>
        <a:graphic>
          <a:graphicData uri="http://schemas.openxmlformats.org/drawingml/2006/table">
            <a:tbl>
              <a:tblPr/>
              <a:tblGrid>
                <a:gridCol w="61790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32807">
                  <a:extLst>
                    <a:ext uri="{9D8B030D-6E8A-4147-A177-3AD203B41FA5}">
                      <a16:colId xmlns:a16="http://schemas.microsoft.com/office/drawing/2014/main" val="2955368908"/>
                    </a:ext>
                  </a:extLst>
                </a:gridCol>
              </a:tblGrid>
              <a:tr h="33536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Необходимо предоставить стоимость перевозки архива с грузовой</a:t>
                      </a:r>
                      <a:r>
                        <a:rPr lang="ru-RU" sz="800" b="0" kern="140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машиной за один выезд в г. Ереван</a:t>
                      </a:r>
                      <a:r>
                        <a:rPr lang="ru-RU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 (драм РА, включая НДС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y-AM" sz="800" dirty="0" smtClean="0"/>
                        <a:t>Անհրաժեշտ է</a:t>
                      </a:r>
                      <a:r>
                        <a:rPr lang="en-US" sz="800" dirty="0" smtClean="0"/>
                        <a:t> </a:t>
                      </a:r>
                      <a:r>
                        <a:rPr lang="hy-AM" sz="800" dirty="0" smtClean="0"/>
                        <a:t>տրամադրել</a:t>
                      </a:r>
                      <a:r>
                        <a:rPr lang="ru-RU" sz="800" dirty="0" smtClean="0"/>
                        <a:t> </a:t>
                      </a:r>
                      <a:r>
                        <a:rPr lang="hy-AM" sz="800" dirty="0" smtClean="0"/>
                        <a:t>արխիվի </a:t>
                      </a:r>
                      <a:r>
                        <a:rPr lang="hy-AM" sz="800" dirty="0" err="1" smtClean="0"/>
                        <a:t>բեռնատարով</a:t>
                      </a:r>
                      <a:r>
                        <a:rPr lang="hy-AM" sz="800" dirty="0" smtClean="0"/>
                        <a:t> տեղափոխման արժեքը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dirty="0" err="1" smtClean="0"/>
                        <a:t>Երևան</a:t>
                      </a:r>
                      <a:r>
                        <a:rPr lang="hy-AM" sz="800" dirty="0" smtClean="0"/>
                        <a:t> ք․</a:t>
                      </a:r>
                      <a:r>
                        <a:rPr lang="hy-AM" sz="800" baseline="0" dirty="0" smtClean="0"/>
                        <a:t> </a:t>
                      </a:r>
                      <a:r>
                        <a:rPr lang="hy-AM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lang="en-US" sz="800" b="0" kern="14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Armenian" panose="020B0604020202020204" pitchFamily="34" charset="0"/>
                          <a:ea typeface="+mn-ea"/>
                          <a:cs typeface="+mn-cs"/>
                        </a:rPr>
                        <a:t>ÐÐ ¹ñ³Ù, Ý»ñ³éÛ³É ²²Ð/ </a:t>
                      </a: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kern="14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576" marR="36576" marT="36576" marB="36576">
                    <a:lnL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8" name="Parallelogram 6">
            <a:extLst>
              <a:ext uri="{FF2B5EF4-FFF2-40B4-BE49-F238E27FC236}">
                <a16:creationId xmlns:a16="http://schemas.microsoft.com/office/drawing/2014/main" id="{4845E796-0383-404C-98E1-CEA9DB4463B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5440393" y="4818256"/>
            <a:ext cx="2921474" cy="411277"/>
          </a:xfrm>
          <a:prstGeom prst="parallelogram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800" dirty="0" smtClean="0">
                <a:solidFill>
                  <a:schemeClr val="dk1"/>
                </a:solidFill>
              </a:rPr>
              <a:t>Поле </a:t>
            </a:r>
            <a:r>
              <a:rPr lang="ru-RU" sz="800" dirty="0">
                <a:solidFill>
                  <a:schemeClr val="dk1"/>
                </a:solidFill>
              </a:rPr>
              <a:t>для обязательного заполнения</a:t>
            </a:r>
            <a:endParaRPr lang="en-US" sz="800" dirty="0">
              <a:solidFill>
                <a:schemeClr val="dk1"/>
              </a:solidFill>
            </a:endParaRPr>
          </a:p>
          <a:p>
            <a:pPr algn="ctr"/>
            <a:r>
              <a:rPr lang="hy-AM" sz="800" dirty="0" smtClean="0">
                <a:solidFill>
                  <a:schemeClr val="dk1"/>
                </a:solidFill>
              </a:rPr>
              <a:t>Դաշտ </a:t>
            </a:r>
            <a:r>
              <a:rPr lang="hy-AM" sz="800" dirty="0">
                <a:solidFill>
                  <a:schemeClr val="dk1"/>
                </a:solidFill>
              </a:rPr>
              <a:t>պարտադիր լրացման համար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29" name="Down Arrow 28"/>
          <p:cNvSpPr/>
          <p:nvPr/>
        </p:nvSpPr>
        <p:spPr>
          <a:xfrm>
            <a:off x="6847528" y="5253955"/>
            <a:ext cx="98712" cy="94123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6760" y="5814551"/>
            <a:ext cx="65331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*цена должна быть указан</a:t>
            </a:r>
            <a:r>
              <a:rPr lang="ru-RU" sz="800" kern="1400" dirty="0">
                <a:solidFill>
                  <a:srgbClr val="FF0000"/>
                </a:solidFill>
                <a:latin typeface="Calibri" panose="020F0502020204030204" pitchFamily="34" charset="0"/>
              </a:rPr>
              <a:t>а</a:t>
            </a:r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за один выезд, за полностью загруженную машину</a:t>
            </a:r>
          </a:p>
          <a:p>
            <a:r>
              <a:rPr lang="ru-RU" sz="800" kern="1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endParaRPr lang="en-US" sz="800" kern="14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43" name="Rectangle 1"/>
          <p:cNvSpPr>
            <a:spLocks noChangeArrowheads="1"/>
          </p:cNvSpPr>
          <p:nvPr/>
        </p:nvSpPr>
        <p:spPr bwMode="auto">
          <a:xfrm>
            <a:off x="117639" y="6054591"/>
            <a:ext cx="6838525" cy="251359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*</a:t>
            </a:r>
            <a:r>
              <a:rPr kumimoji="0" lang="hy-AM" altLang="en-US" sz="900" b="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inherit"/>
              </a:rPr>
              <a:t>գինը պետք է նշված լինի մեկ ուղղության համար, ամբողջությամբ բեռնված մեքենայի համար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hy-AM" altLang="en-US" sz="900" dirty="0">
              <a:solidFill>
                <a:srgbClr val="FF0000"/>
              </a:solidFill>
              <a:latin typeface="inherit"/>
            </a:endParaRPr>
          </a:p>
        </p:txBody>
      </p:sp>
      <p:sp>
        <p:nvSpPr>
          <p:cNvPr id="44" name="Rounded Rectangle 43"/>
          <p:cNvSpPr/>
          <p:nvPr/>
        </p:nvSpPr>
        <p:spPr>
          <a:xfrm>
            <a:off x="91148" y="4270746"/>
            <a:ext cx="5856057" cy="380530"/>
          </a:xfrm>
          <a:prstGeom prst="roundRect">
            <a:avLst>
              <a:gd name="adj" fmla="val 1000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>
                <a:solidFill>
                  <a:schemeClr val="dk1"/>
                </a:solidFill>
              </a:rPr>
              <a:t>Работы будут выполнятся в рабочие дни с 09:00 до 18:00</a:t>
            </a:r>
            <a:endParaRPr lang="en-US" sz="800" dirty="0">
              <a:solidFill>
                <a:schemeClr val="dk1"/>
              </a:solidFill>
            </a:endParaRPr>
          </a:p>
          <a:p>
            <a:r>
              <a:rPr lang="hy-AM" sz="800" dirty="0">
                <a:solidFill>
                  <a:schemeClr val="dk1"/>
                </a:solidFill>
              </a:rPr>
              <a:t>Աշխատանքները իրականացվելու են աշխատանքային օրերին 09:00</a:t>
            </a:r>
            <a:r>
              <a:rPr lang="ru-RU" sz="800" dirty="0">
                <a:solidFill>
                  <a:schemeClr val="dk1"/>
                </a:solidFill>
              </a:rPr>
              <a:t> -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ից</a:t>
            </a:r>
            <a:r>
              <a:rPr lang="hy-AM" sz="800" dirty="0">
                <a:solidFill>
                  <a:schemeClr val="dk1"/>
                </a:solidFill>
              </a:rPr>
              <a:t> </a:t>
            </a:r>
            <a:r>
              <a:rPr lang="hy-AM" sz="800" dirty="0" err="1">
                <a:solidFill>
                  <a:schemeClr val="dk1"/>
                </a:solidFill>
              </a:rPr>
              <a:t>մինչև</a:t>
            </a:r>
            <a:r>
              <a:rPr lang="hy-AM" sz="800" dirty="0">
                <a:solidFill>
                  <a:schemeClr val="dk1"/>
                </a:solidFill>
              </a:rPr>
              <a:t> 18։00</a:t>
            </a:r>
            <a:endParaRPr lang="ru-RU" sz="800" dirty="0">
              <a:solidFill>
                <a:schemeClr val="dk1"/>
              </a:solidFill>
            </a:endParaRPr>
          </a:p>
        </p:txBody>
      </p:sp>
      <p:sp>
        <p:nvSpPr>
          <p:cNvPr id="45" name="Rounded Rectangle 44"/>
          <p:cNvSpPr/>
          <p:nvPr/>
        </p:nvSpPr>
        <p:spPr>
          <a:xfrm>
            <a:off x="6034594" y="4279164"/>
            <a:ext cx="5785783" cy="394546"/>
          </a:xfrm>
          <a:prstGeom prst="roundRect">
            <a:avLst>
              <a:gd name="adj" fmla="val 10000"/>
            </a:avLst>
          </a:prstGeom>
          <a:ln>
            <a:solidFill>
              <a:srgbClr val="FF000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/>
          <a:lstStyle/>
          <a:p>
            <a:r>
              <a:rPr lang="ru-RU" sz="800" dirty="0"/>
              <a:t>Компания несет ответственность за ущерб </a:t>
            </a:r>
            <a:r>
              <a:rPr lang="ru-RU" sz="800" dirty="0" smtClean="0"/>
              <a:t>причинённый  </a:t>
            </a:r>
            <a:r>
              <a:rPr lang="ru-RU" sz="800" dirty="0"/>
              <a:t>во время выполнения работ. </a:t>
            </a:r>
            <a:endParaRPr lang="hy-AM" sz="800" dirty="0" smtClean="0"/>
          </a:p>
          <a:p>
            <a:r>
              <a:rPr lang="en-US" sz="800" dirty="0" err="1" smtClean="0">
                <a:solidFill>
                  <a:schemeClr val="tx1"/>
                </a:solidFill>
              </a:rPr>
              <a:t>Ընկերությունը</a:t>
            </a:r>
            <a:r>
              <a:rPr lang="en-US" sz="800" dirty="0" smtClean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ասխանատվություն</a:t>
            </a:r>
            <a:r>
              <a:rPr lang="en-US" sz="800" dirty="0">
                <a:solidFill>
                  <a:schemeClr val="tx1"/>
                </a:solidFill>
              </a:rPr>
              <a:t> է </a:t>
            </a:r>
            <a:r>
              <a:rPr lang="en-US" sz="800" dirty="0" err="1">
                <a:solidFill>
                  <a:schemeClr val="tx1"/>
                </a:solidFill>
              </a:rPr>
              <a:t>կր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շխատանք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ընթացքում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ապրանքին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պատճառած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վնասների</a:t>
            </a:r>
            <a:r>
              <a:rPr lang="en-US" sz="800" dirty="0">
                <a:solidFill>
                  <a:schemeClr val="tx1"/>
                </a:solidFill>
              </a:rPr>
              <a:t> </a:t>
            </a:r>
            <a:r>
              <a:rPr lang="en-US" sz="800" dirty="0" err="1">
                <a:solidFill>
                  <a:schemeClr val="tx1"/>
                </a:solidFill>
              </a:rPr>
              <a:t>համար</a:t>
            </a:r>
            <a:r>
              <a:rPr lang="en-US" sz="800" dirty="0" smtClean="0">
                <a:solidFill>
                  <a:schemeClr val="tx1"/>
                </a:solidFill>
              </a:rPr>
              <a:t>:</a:t>
            </a:r>
            <a:endParaRPr lang="en-US" sz="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30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: Shape 6">
            <a:extLst>
              <a:ext uri="{FF2B5EF4-FFF2-40B4-BE49-F238E27FC236}">
                <a16:creationId xmlns:a16="http://schemas.microsoft.com/office/drawing/2014/main" id="{80CA7EE1-C806-48E4-AB48-03B0FA0558EC}"/>
              </a:ext>
            </a:extLst>
          </p:cNvPr>
          <p:cNvSpPr>
            <a:spLocks/>
          </p:cNvSpPr>
          <p:nvPr/>
        </p:nvSpPr>
        <p:spPr>
          <a:xfrm flipH="1">
            <a:off x="81642" y="2596243"/>
            <a:ext cx="11818040" cy="1396089"/>
          </a:xfrm>
          <a:custGeom>
            <a:avLst/>
            <a:gdLst>
              <a:gd name="connsiteX0" fmla="*/ 311236 w 6224306"/>
              <a:gd name="connsiteY0" fmla="*/ 0 h 622472"/>
              <a:gd name="connsiteX1" fmla="*/ 968865 w 6224306"/>
              <a:gd name="connsiteY1" fmla="*/ 0 h 622472"/>
              <a:gd name="connsiteX2" fmla="*/ 1469856 w 6224306"/>
              <a:gd name="connsiteY2" fmla="*/ 0 h 622472"/>
              <a:gd name="connsiteX3" fmla="*/ 1936731 w 6224306"/>
              <a:gd name="connsiteY3" fmla="*/ 0 h 622472"/>
              <a:gd name="connsiteX4" fmla="*/ 2127485 w 6224306"/>
              <a:gd name="connsiteY4" fmla="*/ 0 h 622472"/>
              <a:gd name="connsiteX5" fmla="*/ 2581960 w 6224306"/>
              <a:gd name="connsiteY5" fmla="*/ 0 h 622472"/>
              <a:gd name="connsiteX6" fmla="*/ 3095351 w 6224306"/>
              <a:gd name="connsiteY6" fmla="*/ 0 h 622472"/>
              <a:gd name="connsiteX7" fmla="*/ 3740580 w 6224306"/>
              <a:gd name="connsiteY7" fmla="*/ 0 h 622472"/>
              <a:gd name="connsiteX8" fmla="*/ 4050345 w 6224306"/>
              <a:gd name="connsiteY8" fmla="*/ 0 h 622472"/>
              <a:gd name="connsiteX9" fmla="*/ 5065686 w 6224306"/>
              <a:gd name="connsiteY9" fmla="*/ 0 h 622472"/>
              <a:gd name="connsiteX10" fmla="*/ 5208965 w 6224306"/>
              <a:gd name="connsiteY10" fmla="*/ 0 h 622472"/>
              <a:gd name="connsiteX11" fmla="*/ 6224306 w 6224306"/>
              <a:gd name="connsiteY11" fmla="*/ 0 h 622472"/>
              <a:gd name="connsiteX12" fmla="*/ 6000428 w 6224306"/>
              <a:gd name="connsiteY12" fmla="*/ 622472 h 622472"/>
              <a:gd name="connsiteX13" fmla="*/ 4985087 w 6224306"/>
              <a:gd name="connsiteY13" fmla="*/ 622472 h 622472"/>
              <a:gd name="connsiteX14" fmla="*/ 4841808 w 6224306"/>
              <a:gd name="connsiteY14" fmla="*/ 622472 h 622472"/>
              <a:gd name="connsiteX15" fmla="*/ 3826467 w 6224306"/>
              <a:gd name="connsiteY15" fmla="*/ 622472 h 622472"/>
              <a:gd name="connsiteX16" fmla="*/ 3516702 w 6224306"/>
              <a:gd name="connsiteY16" fmla="*/ 622472 h 622472"/>
              <a:gd name="connsiteX17" fmla="*/ 3095351 w 6224306"/>
              <a:gd name="connsiteY17" fmla="*/ 622472 h 622472"/>
              <a:gd name="connsiteX18" fmla="*/ 2358082 w 6224306"/>
              <a:gd name="connsiteY18" fmla="*/ 622472 h 622472"/>
              <a:gd name="connsiteX19" fmla="*/ 1936731 w 6224306"/>
              <a:gd name="connsiteY19" fmla="*/ 622472 h 622472"/>
              <a:gd name="connsiteX20" fmla="*/ 1903607 w 6224306"/>
              <a:gd name="connsiteY20" fmla="*/ 622472 h 622472"/>
              <a:gd name="connsiteX21" fmla="*/ 1469856 w 6224306"/>
              <a:gd name="connsiteY21" fmla="*/ 622472 h 622472"/>
              <a:gd name="connsiteX22" fmla="*/ 744987 w 6224306"/>
              <a:gd name="connsiteY22" fmla="*/ 622472 h 622472"/>
              <a:gd name="connsiteX23" fmla="*/ 311236 w 6224306"/>
              <a:gd name="connsiteY23" fmla="*/ 622472 h 622472"/>
              <a:gd name="connsiteX24" fmla="*/ 0 w 6224306"/>
              <a:gd name="connsiteY24" fmla="*/ 311236 h 622472"/>
              <a:gd name="connsiteX25" fmla="*/ 311236 w 6224306"/>
              <a:gd name="connsiteY25" fmla="*/ 0 h 622472"/>
              <a:gd name="connsiteX0" fmla="*/ 311236 w 6595843"/>
              <a:gd name="connsiteY0" fmla="*/ 0 h 631786"/>
              <a:gd name="connsiteX1" fmla="*/ 968865 w 6595843"/>
              <a:gd name="connsiteY1" fmla="*/ 0 h 631786"/>
              <a:gd name="connsiteX2" fmla="*/ 1469856 w 6595843"/>
              <a:gd name="connsiteY2" fmla="*/ 0 h 631786"/>
              <a:gd name="connsiteX3" fmla="*/ 1936731 w 6595843"/>
              <a:gd name="connsiteY3" fmla="*/ 0 h 631786"/>
              <a:gd name="connsiteX4" fmla="*/ 2127485 w 6595843"/>
              <a:gd name="connsiteY4" fmla="*/ 0 h 631786"/>
              <a:gd name="connsiteX5" fmla="*/ 2581960 w 6595843"/>
              <a:gd name="connsiteY5" fmla="*/ 0 h 631786"/>
              <a:gd name="connsiteX6" fmla="*/ 3095351 w 6595843"/>
              <a:gd name="connsiteY6" fmla="*/ 0 h 631786"/>
              <a:gd name="connsiteX7" fmla="*/ 3740580 w 6595843"/>
              <a:gd name="connsiteY7" fmla="*/ 0 h 631786"/>
              <a:gd name="connsiteX8" fmla="*/ 4050345 w 6595843"/>
              <a:gd name="connsiteY8" fmla="*/ 0 h 631786"/>
              <a:gd name="connsiteX9" fmla="*/ 5065686 w 6595843"/>
              <a:gd name="connsiteY9" fmla="*/ 0 h 631786"/>
              <a:gd name="connsiteX10" fmla="*/ 5208965 w 6595843"/>
              <a:gd name="connsiteY10" fmla="*/ 0 h 631786"/>
              <a:gd name="connsiteX11" fmla="*/ 6224306 w 6595843"/>
              <a:gd name="connsiteY11" fmla="*/ 0 h 631786"/>
              <a:gd name="connsiteX12" fmla="*/ 6595843 w 6595843"/>
              <a:gd name="connsiteY12" fmla="*/ 631786 h 631786"/>
              <a:gd name="connsiteX13" fmla="*/ 4985087 w 6595843"/>
              <a:gd name="connsiteY13" fmla="*/ 622472 h 631786"/>
              <a:gd name="connsiteX14" fmla="*/ 4841808 w 6595843"/>
              <a:gd name="connsiteY14" fmla="*/ 622472 h 631786"/>
              <a:gd name="connsiteX15" fmla="*/ 3826467 w 6595843"/>
              <a:gd name="connsiteY15" fmla="*/ 622472 h 631786"/>
              <a:gd name="connsiteX16" fmla="*/ 3516702 w 6595843"/>
              <a:gd name="connsiteY16" fmla="*/ 622472 h 631786"/>
              <a:gd name="connsiteX17" fmla="*/ 3095351 w 6595843"/>
              <a:gd name="connsiteY17" fmla="*/ 622472 h 631786"/>
              <a:gd name="connsiteX18" fmla="*/ 2358082 w 6595843"/>
              <a:gd name="connsiteY18" fmla="*/ 622472 h 631786"/>
              <a:gd name="connsiteX19" fmla="*/ 1936731 w 6595843"/>
              <a:gd name="connsiteY19" fmla="*/ 622472 h 631786"/>
              <a:gd name="connsiteX20" fmla="*/ 1903607 w 6595843"/>
              <a:gd name="connsiteY20" fmla="*/ 622472 h 631786"/>
              <a:gd name="connsiteX21" fmla="*/ 1469856 w 6595843"/>
              <a:gd name="connsiteY21" fmla="*/ 622472 h 631786"/>
              <a:gd name="connsiteX22" fmla="*/ 744987 w 6595843"/>
              <a:gd name="connsiteY22" fmla="*/ 622472 h 631786"/>
              <a:gd name="connsiteX23" fmla="*/ 311236 w 6595843"/>
              <a:gd name="connsiteY23" fmla="*/ 622472 h 631786"/>
              <a:gd name="connsiteX24" fmla="*/ 0 w 6595843"/>
              <a:gd name="connsiteY24" fmla="*/ 311236 h 631786"/>
              <a:gd name="connsiteX25" fmla="*/ 311236 w 6595843"/>
              <a:gd name="connsiteY25" fmla="*/ 0 h 631786"/>
              <a:gd name="connsiteX0" fmla="*/ 311236 w 6513147"/>
              <a:gd name="connsiteY0" fmla="*/ 0 h 624801"/>
              <a:gd name="connsiteX1" fmla="*/ 968865 w 6513147"/>
              <a:gd name="connsiteY1" fmla="*/ 0 h 624801"/>
              <a:gd name="connsiteX2" fmla="*/ 1469856 w 6513147"/>
              <a:gd name="connsiteY2" fmla="*/ 0 h 624801"/>
              <a:gd name="connsiteX3" fmla="*/ 1936731 w 6513147"/>
              <a:gd name="connsiteY3" fmla="*/ 0 h 624801"/>
              <a:gd name="connsiteX4" fmla="*/ 2127485 w 6513147"/>
              <a:gd name="connsiteY4" fmla="*/ 0 h 624801"/>
              <a:gd name="connsiteX5" fmla="*/ 2581960 w 6513147"/>
              <a:gd name="connsiteY5" fmla="*/ 0 h 624801"/>
              <a:gd name="connsiteX6" fmla="*/ 3095351 w 6513147"/>
              <a:gd name="connsiteY6" fmla="*/ 0 h 624801"/>
              <a:gd name="connsiteX7" fmla="*/ 3740580 w 6513147"/>
              <a:gd name="connsiteY7" fmla="*/ 0 h 624801"/>
              <a:gd name="connsiteX8" fmla="*/ 4050345 w 6513147"/>
              <a:gd name="connsiteY8" fmla="*/ 0 h 624801"/>
              <a:gd name="connsiteX9" fmla="*/ 5065686 w 6513147"/>
              <a:gd name="connsiteY9" fmla="*/ 0 h 624801"/>
              <a:gd name="connsiteX10" fmla="*/ 5208965 w 6513147"/>
              <a:gd name="connsiteY10" fmla="*/ 0 h 624801"/>
              <a:gd name="connsiteX11" fmla="*/ 6224306 w 6513147"/>
              <a:gd name="connsiteY11" fmla="*/ 0 h 624801"/>
              <a:gd name="connsiteX12" fmla="*/ 6513147 w 6513147"/>
              <a:gd name="connsiteY12" fmla="*/ 624801 h 624801"/>
              <a:gd name="connsiteX13" fmla="*/ 4985087 w 6513147"/>
              <a:gd name="connsiteY13" fmla="*/ 622472 h 624801"/>
              <a:gd name="connsiteX14" fmla="*/ 4841808 w 6513147"/>
              <a:gd name="connsiteY14" fmla="*/ 622472 h 624801"/>
              <a:gd name="connsiteX15" fmla="*/ 3826467 w 6513147"/>
              <a:gd name="connsiteY15" fmla="*/ 622472 h 624801"/>
              <a:gd name="connsiteX16" fmla="*/ 3516702 w 6513147"/>
              <a:gd name="connsiteY16" fmla="*/ 622472 h 624801"/>
              <a:gd name="connsiteX17" fmla="*/ 3095351 w 6513147"/>
              <a:gd name="connsiteY17" fmla="*/ 622472 h 624801"/>
              <a:gd name="connsiteX18" fmla="*/ 2358082 w 6513147"/>
              <a:gd name="connsiteY18" fmla="*/ 622472 h 624801"/>
              <a:gd name="connsiteX19" fmla="*/ 1936731 w 6513147"/>
              <a:gd name="connsiteY19" fmla="*/ 622472 h 624801"/>
              <a:gd name="connsiteX20" fmla="*/ 1903607 w 6513147"/>
              <a:gd name="connsiteY20" fmla="*/ 622472 h 624801"/>
              <a:gd name="connsiteX21" fmla="*/ 1469856 w 6513147"/>
              <a:gd name="connsiteY21" fmla="*/ 622472 h 624801"/>
              <a:gd name="connsiteX22" fmla="*/ 744987 w 6513147"/>
              <a:gd name="connsiteY22" fmla="*/ 622472 h 624801"/>
              <a:gd name="connsiteX23" fmla="*/ 311236 w 6513147"/>
              <a:gd name="connsiteY23" fmla="*/ 622472 h 624801"/>
              <a:gd name="connsiteX24" fmla="*/ 0 w 6513147"/>
              <a:gd name="connsiteY24" fmla="*/ 311236 h 624801"/>
              <a:gd name="connsiteX25" fmla="*/ 311236 w 6513147"/>
              <a:gd name="connsiteY25" fmla="*/ 0 h 624801"/>
              <a:gd name="connsiteX0" fmla="*/ 311236 w 6513147"/>
              <a:gd name="connsiteY0" fmla="*/ 0 h 624801"/>
              <a:gd name="connsiteX1" fmla="*/ 968865 w 6513147"/>
              <a:gd name="connsiteY1" fmla="*/ 0 h 624801"/>
              <a:gd name="connsiteX2" fmla="*/ 1469856 w 6513147"/>
              <a:gd name="connsiteY2" fmla="*/ 0 h 624801"/>
              <a:gd name="connsiteX3" fmla="*/ 1936731 w 6513147"/>
              <a:gd name="connsiteY3" fmla="*/ 0 h 624801"/>
              <a:gd name="connsiteX4" fmla="*/ 2127485 w 6513147"/>
              <a:gd name="connsiteY4" fmla="*/ 0 h 624801"/>
              <a:gd name="connsiteX5" fmla="*/ 2581960 w 6513147"/>
              <a:gd name="connsiteY5" fmla="*/ 0 h 624801"/>
              <a:gd name="connsiteX6" fmla="*/ 3095351 w 6513147"/>
              <a:gd name="connsiteY6" fmla="*/ 0 h 624801"/>
              <a:gd name="connsiteX7" fmla="*/ 3740580 w 6513147"/>
              <a:gd name="connsiteY7" fmla="*/ 0 h 624801"/>
              <a:gd name="connsiteX8" fmla="*/ 4050345 w 6513147"/>
              <a:gd name="connsiteY8" fmla="*/ 0 h 624801"/>
              <a:gd name="connsiteX9" fmla="*/ 5065686 w 6513147"/>
              <a:gd name="connsiteY9" fmla="*/ 0 h 624801"/>
              <a:gd name="connsiteX10" fmla="*/ 5208965 w 6513147"/>
              <a:gd name="connsiteY10" fmla="*/ 0 h 624801"/>
              <a:gd name="connsiteX11" fmla="*/ 6257587 w 6513147"/>
              <a:gd name="connsiteY11" fmla="*/ 0 h 624801"/>
              <a:gd name="connsiteX12" fmla="*/ 6513147 w 6513147"/>
              <a:gd name="connsiteY12" fmla="*/ 624801 h 624801"/>
              <a:gd name="connsiteX13" fmla="*/ 4985087 w 6513147"/>
              <a:gd name="connsiteY13" fmla="*/ 622472 h 624801"/>
              <a:gd name="connsiteX14" fmla="*/ 4841808 w 6513147"/>
              <a:gd name="connsiteY14" fmla="*/ 622472 h 624801"/>
              <a:gd name="connsiteX15" fmla="*/ 3826467 w 6513147"/>
              <a:gd name="connsiteY15" fmla="*/ 622472 h 624801"/>
              <a:gd name="connsiteX16" fmla="*/ 3516702 w 6513147"/>
              <a:gd name="connsiteY16" fmla="*/ 622472 h 624801"/>
              <a:gd name="connsiteX17" fmla="*/ 3095351 w 6513147"/>
              <a:gd name="connsiteY17" fmla="*/ 622472 h 624801"/>
              <a:gd name="connsiteX18" fmla="*/ 2358082 w 6513147"/>
              <a:gd name="connsiteY18" fmla="*/ 622472 h 624801"/>
              <a:gd name="connsiteX19" fmla="*/ 1936731 w 6513147"/>
              <a:gd name="connsiteY19" fmla="*/ 622472 h 624801"/>
              <a:gd name="connsiteX20" fmla="*/ 1903607 w 6513147"/>
              <a:gd name="connsiteY20" fmla="*/ 622472 h 624801"/>
              <a:gd name="connsiteX21" fmla="*/ 1469856 w 6513147"/>
              <a:gd name="connsiteY21" fmla="*/ 622472 h 624801"/>
              <a:gd name="connsiteX22" fmla="*/ 744987 w 6513147"/>
              <a:gd name="connsiteY22" fmla="*/ 622472 h 624801"/>
              <a:gd name="connsiteX23" fmla="*/ 311236 w 6513147"/>
              <a:gd name="connsiteY23" fmla="*/ 622472 h 624801"/>
              <a:gd name="connsiteX24" fmla="*/ 0 w 6513147"/>
              <a:gd name="connsiteY24" fmla="*/ 311236 h 624801"/>
              <a:gd name="connsiteX25" fmla="*/ 311236 w 6513147"/>
              <a:gd name="connsiteY25" fmla="*/ 0 h 624801"/>
              <a:gd name="connsiteX0" fmla="*/ 68916 w 6270827"/>
              <a:gd name="connsiteY0" fmla="*/ 0 h 624801"/>
              <a:gd name="connsiteX1" fmla="*/ 726545 w 6270827"/>
              <a:gd name="connsiteY1" fmla="*/ 0 h 624801"/>
              <a:gd name="connsiteX2" fmla="*/ 1227536 w 6270827"/>
              <a:gd name="connsiteY2" fmla="*/ 0 h 624801"/>
              <a:gd name="connsiteX3" fmla="*/ 1694411 w 6270827"/>
              <a:gd name="connsiteY3" fmla="*/ 0 h 624801"/>
              <a:gd name="connsiteX4" fmla="*/ 1885165 w 6270827"/>
              <a:gd name="connsiteY4" fmla="*/ 0 h 624801"/>
              <a:gd name="connsiteX5" fmla="*/ 2339640 w 6270827"/>
              <a:gd name="connsiteY5" fmla="*/ 0 h 624801"/>
              <a:gd name="connsiteX6" fmla="*/ 2853031 w 6270827"/>
              <a:gd name="connsiteY6" fmla="*/ 0 h 624801"/>
              <a:gd name="connsiteX7" fmla="*/ 3498260 w 6270827"/>
              <a:gd name="connsiteY7" fmla="*/ 0 h 624801"/>
              <a:gd name="connsiteX8" fmla="*/ 3808025 w 6270827"/>
              <a:gd name="connsiteY8" fmla="*/ 0 h 624801"/>
              <a:gd name="connsiteX9" fmla="*/ 4823366 w 6270827"/>
              <a:gd name="connsiteY9" fmla="*/ 0 h 624801"/>
              <a:gd name="connsiteX10" fmla="*/ 4966645 w 6270827"/>
              <a:gd name="connsiteY10" fmla="*/ 0 h 624801"/>
              <a:gd name="connsiteX11" fmla="*/ 6015267 w 6270827"/>
              <a:gd name="connsiteY11" fmla="*/ 0 h 624801"/>
              <a:gd name="connsiteX12" fmla="*/ 6270827 w 6270827"/>
              <a:gd name="connsiteY12" fmla="*/ 624801 h 624801"/>
              <a:gd name="connsiteX13" fmla="*/ 4742767 w 6270827"/>
              <a:gd name="connsiteY13" fmla="*/ 622472 h 624801"/>
              <a:gd name="connsiteX14" fmla="*/ 4599488 w 6270827"/>
              <a:gd name="connsiteY14" fmla="*/ 622472 h 624801"/>
              <a:gd name="connsiteX15" fmla="*/ 3584147 w 6270827"/>
              <a:gd name="connsiteY15" fmla="*/ 622472 h 624801"/>
              <a:gd name="connsiteX16" fmla="*/ 3274382 w 6270827"/>
              <a:gd name="connsiteY16" fmla="*/ 622472 h 624801"/>
              <a:gd name="connsiteX17" fmla="*/ 2853031 w 6270827"/>
              <a:gd name="connsiteY17" fmla="*/ 622472 h 624801"/>
              <a:gd name="connsiteX18" fmla="*/ 2115762 w 6270827"/>
              <a:gd name="connsiteY18" fmla="*/ 622472 h 624801"/>
              <a:gd name="connsiteX19" fmla="*/ 1694411 w 6270827"/>
              <a:gd name="connsiteY19" fmla="*/ 622472 h 624801"/>
              <a:gd name="connsiteX20" fmla="*/ 1661287 w 6270827"/>
              <a:gd name="connsiteY20" fmla="*/ 622472 h 624801"/>
              <a:gd name="connsiteX21" fmla="*/ 1227536 w 6270827"/>
              <a:gd name="connsiteY21" fmla="*/ 622472 h 624801"/>
              <a:gd name="connsiteX22" fmla="*/ 502667 w 6270827"/>
              <a:gd name="connsiteY22" fmla="*/ 622472 h 624801"/>
              <a:gd name="connsiteX23" fmla="*/ 68916 w 6270827"/>
              <a:gd name="connsiteY23" fmla="*/ 622472 h 624801"/>
              <a:gd name="connsiteX24" fmla="*/ 68916 w 6270827"/>
              <a:gd name="connsiteY24" fmla="*/ 0 h 624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6270827" h="624801">
                <a:moveTo>
                  <a:pt x="68916" y="0"/>
                </a:moveTo>
                <a:lnTo>
                  <a:pt x="726545" y="0"/>
                </a:lnTo>
                <a:lnTo>
                  <a:pt x="1227536" y="0"/>
                </a:lnTo>
                <a:lnTo>
                  <a:pt x="1694411" y="0"/>
                </a:lnTo>
                <a:lnTo>
                  <a:pt x="1885165" y="0"/>
                </a:lnTo>
                <a:lnTo>
                  <a:pt x="2339640" y="0"/>
                </a:lnTo>
                <a:lnTo>
                  <a:pt x="2853031" y="0"/>
                </a:lnTo>
                <a:lnTo>
                  <a:pt x="3498260" y="0"/>
                </a:lnTo>
                <a:lnTo>
                  <a:pt x="3808025" y="0"/>
                </a:lnTo>
                <a:lnTo>
                  <a:pt x="4823366" y="0"/>
                </a:lnTo>
                <a:lnTo>
                  <a:pt x="4966645" y="0"/>
                </a:lnTo>
                <a:lnTo>
                  <a:pt x="6015267" y="0"/>
                </a:lnTo>
                <a:lnTo>
                  <a:pt x="6270827" y="624801"/>
                </a:lnTo>
                <a:lnTo>
                  <a:pt x="4742767" y="622472"/>
                </a:lnTo>
                <a:lnTo>
                  <a:pt x="4599488" y="622472"/>
                </a:lnTo>
                <a:lnTo>
                  <a:pt x="3584147" y="622472"/>
                </a:lnTo>
                <a:lnTo>
                  <a:pt x="3274382" y="622472"/>
                </a:lnTo>
                <a:lnTo>
                  <a:pt x="2853031" y="622472"/>
                </a:lnTo>
                <a:lnTo>
                  <a:pt x="2115762" y="622472"/>
                </a:lnTo>
                <a:lnTo>
                  <a:pt x="1694411" y="622472"/>
                </a:lnTo>
                <a:lnTo>
                  <a:pt x="1661287" y="622472"/>
                </a:lnTo>
                <a:lnTo>
                  <a:pt x="1227536" y="622472"/>
                </a:lnTo>
                <a:lnTo>
                  <a:pt x="502667" y="622472"/>
                </a:lnTo>
                <a:lnTo>
                  <a:pt x="68916" y="622472"/>
                </a:lnTo>
                <a:cubicBezTo>
                  <a:pt x="-3376" y="518727"/>
                  <a:pt x="-40689" y="103745"/>
                  <a:pt x="68916" y="0"/>
                </a:cubicBezTo>
                <a:close/>
              </a:path>
            </a:pathLst>
          </a:cu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200" i="1" dirty="0" smtClean="0"/>
              <a:t>Офисную мебель, включая стеллажи, металлические шкафы и сейфы </a:t>
            </a:r>
            <a:r>
              <a:rPr lang="en-US" sz="1200" i="1" dirty="0" err="1" smtClean="0"/>
              <a:t>можете</a:t>
            </a:r>
            <a:r>
              <a:rPr lang="en-US" sz="1200" i="1" dirty="0" smtClean="0"/>
              <a:t> </a:t>
            </a:r>
            <a:r>
              <a:rPr lang="en-US" sz="1200" i="1" dirty="0" err="1"/>
              <a:t>увидить</a:t>
            </a:r>
            <a:r>
              <a:rPr lang="en-US" sz="1200" i="1" dirty="0"/>
              <a:t> в </a:t>
            </a:r>
            <a:r>
              <a:rPr lang="ru-RU" sz="1200" i="1" dirty="0" smtClean="0"/>
              <a:t>Главном офисе </a:t>
            </a:r>
            <a:r>
              <a:rPr lang="en-US" altLang="ru-RU" sz="1200" i="1" dirty="0" err="1" smtClean="0"/>
              <a:t>ЗАО”Банк</a:t>
            </a:r>
            <a:r>
              <a:rPr lang="en-US" altLang="ru-RU" sz="1200" i="1" dirty="0" smtClean="0"/>
              <a:t> </a:t>
            </a:r>
            <a:r>
              <a:rPr lang="en-US" altLang="ru-RU" sz="1200" i="1" dirty="0"/>
              <a:t>ВТБ (</a:t>
            </a:r>
            <a:r>
              <a:rPr lang="en-US" altLang="ru-RU" sz="1200" i="1" dirty="0" err="1"/>
              <a:t>Армения</a:t>
            </a:r>
            <a:r>
              <a:rPr lang="en-US" altLang="ru-RU" sz="1200" i="1" dirty="0"/>
              <a:t>)”</a:t>
            </a:r>
            <a:r>
              <a:rPr lang="en-US" sz="1200" i="1" dirty="0"/>
              <a:t> </a:t>
            </a:r>
            <a:r>
              <a:rPr lang="ru-RU" sz="1200" i="1" dirty="0" smtClean="0"/>
              <a:t>по адресу, </a:t>
            </a:r>
            <a:r>
              <a:rPr lang="en-US" sz="1200" i="1" dirty="0" smtClean="0"/>
              <a:t>г</a:t>
            </a:r>
            <a:r>
              <a:rPr lang="en-US" sz="1200" i="1" dirty="0"/>
              <a:t>. </a:t>
            </a:r>
            <a:r>
              <a:rPr lang="en-US" sz="1200" i="1" dirty="0" err="1" smtClean="0"/>
              <a:t>Ереван</a:t>
            </a:r>
            <a:r>
              <a:rPr lang="ru-RU" sz="1200" i="1" dirty="0" smtClean="0"/>
              <a:t>, </a:t>
            </a:r>
            <a:r>
              <a:rPr lang="ru-RU" sz="1200" i="1" dirty="0" err="1"/>
              <a:t>Московяна</a:t>
            </a:r>
            <a:r>
              <a:rPr lang="ru-RU" sz="1200" i="1" dirty="0"/>
              <a:t> 35.</a:t>
            </a:r>
          </a:p>
          <a:p>
            <a:pPr algn="ctr"/>
            <a:r>
              <a:rPr lang="hy-AM" sz="1200" i="1" dirty="0" err="1"/>
              <a:t>Օֆիսային</a:t>
            </a:r>
            <a:r>
              <a:rPr lang="hy-AM" sz="1200" i="1" dirty="0"/>
              <a:t> կահույքը, ինչպես նաև մետաղական պահարանները և  դարակաշարերը կարող եք տեսնել ՎՏԲ –Հայաստան Բանկ ՓԲԸ Գլխավոր գրասենյակում, որը գտնվում է ք․ </a:t>
            </a:r>
            <a:r>
              <a:rPr lang="hy-AM" sz="1200" i="1" dirty="0" err="1"/>
              <a:t>Երևան</a:t>
            </a:r>
            <a:r>
              <a:rPr lang="hy-AM" sz="1200" i="1" dirty="0"/>
              <a:t>, Մոսկովյան 35 հասցեում:</a:t>
            </a:r>
            <a:endParaRPr lang="ru-RU" sz="1200" i="1" dirty="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5B82B39-FA39-4517-A727-7BE6AAEA7F16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58758" y="230189"/>
            <a:ext cx="1047114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ВТБ </a:t>
            </a:r>
            <a:r>
              <a:rPr lang="ru-RU" sz="1800" dirty="0" smtClean="0"/>
              <a:t>Армения</a:t>
            </a:r>
            <a:endParaRPr lang="ru-RU" sz="1800" dirty="0"/>
          </a:p>
        </p:txBody>
      </p:sp>
      <p:sp>
        <p:nvSpPr>
          <p:cNvPr id="26" name="Slide Number Placeholder 40"/>
          <p:cNvSpPr txBox="1">
            <a:spLocks/>
          </p:cNvSpPr>
          <p:nvPr/>
        </p:nvSpPr>
        <p:spPr>
          <a:xfrm>
            <a:off x="9448800" y="625850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3" name="Rectangle 32"/>
          <p:cNvSpPr/>
          <p:nvPr/>
        </p:nvSpPr>
        <p:spPr>
          <a:xfrm>
            <a:off x="9586497" y="-2587"/>
            <a:ext cx="2233880" cy="54109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pic>
        <p:nvPicPr>
          <p:cNvPr id="34" name="Picture 1" descr="VTB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5316" y="124947"/>
            <a:ext cx="853303" cy="494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49875" y="10789085"/>
            <a:ext cx="8229353" cy="325661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</a:pPr>
            <a:r>
              <a:rPr lang="ru-RU" sz="1100" dirty="0" smtClean="0">
                <a:solidFill>
                  <a:schemeClr val="tx1"/>
                </a:solidFill>
                <a:latin typeface="Franklin Gothic Medium Cond" panose="020B0606030402020204" pitchFamily="34" charset="0"/>
              </a:rPr>
              <a:t>По всем вопросам, связанным с архивацией  документов необходимо связаться с А. </a:t>
            </a:r>
            <a:r>
              <a:rPr lang="ru-RU" sz="1100" dirty="0" err="1" smtClean="0">
                <a:solidFill>
                  <a:schemeClr val="tx1"/>
                </a:solidFill>
                <a:latin typeface="Franklin Gothic Medium Cond" panose="020B0606030402020204" pitchFamily="34" charset="0"/>
              </a:rPr>
              <a:t>Варданяном</a:t>
            </a:r>
            <a:r>
              <a:rPr lang="ru-RU" sz="1100" dirty="0" smtClean="0">
                <a:solidFill>
                  <a:schemeClr val="tx1"/>
                </a:solidFill>
                <a:latin typeface="Franklin Gothic Medium Cond" panose="020B0606030402020204" pitchFamily="34" charset="0"/>
              </a:rPr>
              <a:t>, по номеру 82591</a:t>
            </a:r>
            <a:endParaRPr lang="en-US" sz="1100" dirty="0" err="1">
              <a:solidFill>
                <a:schemeClr val="tx1"/>
              </a:solidFill>
              <a:latin typeface="Franklin Gothic Medium Cond" panose="020B06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09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Yana Nursubina\Desktop\VTB\Финальные материалы\20190328 Консолидированный документ по Стратегии_v12.pptx"/>
  <p:tag name="THINKCELLPRESENTATIONDONOTDELETE" val="&lt;?xml version=&quot;1.0&quot; encoding=&quot;UTF-16&quot; standalone=&quot;yes&quot;?&gt;&lt;root reqver=&quot;25060&quot;&gt;&lt;version val=&quot;2788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1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4.14388550738251026928E+00&quot;&gt;&lt;m_msothmcolidx val=&quot;0&quot;/&gt;&lt;m_rgb r=&quot;4F&quot; g=&quot;81&quot; b=&quot;BD&quot;/&gt;&lt;m_nBrightness endver=&quot;26206&quot; val=&quot;0&quot;/&gt;&lt;/elem&gt;&lt;elem m_fUsage=&quot;3.69906813964749936474E+00&quot;&gt;&lt;m_msothmcolidx val=&quot;0&quot;/&gt;&lt;m_rgb r=&quot;BF&quot; g=&quot;BF&quot; b=&quot;BF&quot;/&gt;&lt;m_nBrightness endver=&quot;26206&quot; val=&quot;0&quot;/&gt;&lt;/elem&gt;&lt;elem m_fUsage=&quot;6.56100000000000127542E-01&quot;&gt;&lt;m_msothmcolidx val=&quot;0&quot;/&gt;&lt;m_rgb r=&quot;C3&quot; g=&quot;D6&quot; b=&quot;9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ZsVpA9oUuTx54n86hc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KUUss6EyiX2cU8Yro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0EVqjUpE2oXlc7RuvR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uANiOETZWVPMRR9c5g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uANiOETZWVPMRR9c5g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_MghDw_UC4QlwKE76n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Cop9XRSzaBccKk.qjC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Umv3KQkyQ__bgSAAI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uANiOETZWVPMRR9c5g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heme/theme1.xml><?xml version="1.0" encoding="utf-8"?>
<a:theme xmlns:a="http://schemas.openxmlformats.org/drawingml/2006/main" name="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 [Read-Only]" id="{171FC359-D4E0-4AA5-ADA0-19991D4DA5C6}" vid="{CF42C887-F37E-451C-80E8-132973C03954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 [Read-Only]" id="{171FC359-D4E0-4AA5-ADA0-19991D4DA5C6}" vid="{CF42C887-F37E-451C-80E8-132973C03954}"/>
    </a:ext>
  </a:extLst>
</a:theme>
</file>

<file path=ppt/theme/theme3.xml><?xml version="1.0" encoding="utf-8"?>
<a:theme xmlns:a="http://schemas.openxmlformats.org/drawingml/2006/main" name="2_Firm Format - template_Blue">
  <a:themeElements>
    <a:clrScheme name="Custom 8">
      <a:dk1>
        <a:srgbClr val="000000"/>
      </a:dk1>
      <a:lt1>
        <a:srgbClr val="FFFFFF"/>
      </a:lt1>
      <a:dk2>
        <a:srgbClr val="0A2896"/>
      </a:dk2>
      <a:lt2>
        <a:srgbClr val="FFFFFF"/>
      </a:lt2>
      <a:accent1>
        <a:srgbClr val="D8D8D8"/>
      </a:accent1>
      <a:accent2>
        <a:srgbClr val="CCEEFF"/>
      </a:accent2>
      <a:accent3>
        <a:srgbClr val="00AAFF"/>
      </a:accent3>
      <a:accent4>
        <a:srgbClr val="0A2896"/>
      </a:accent4>
      <a:accent5>
        <a:srgbClr val="F0A028"/>
      </a:accent5>
      <a:accent6>
        <a:srgbClr val="808080"/>
      </a:accent6>
      <a:hlink>
        <a:srgbClr val="00AAFF"/>
      </a:hlink>
      <a:folHlink>
        <a:srgbClr val="0A289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VTB New Template widescreen.potx [Read-Only]" id="{171FC359-D4E0-4AA5-ADA0-19991D4DA5C6}" vid="{CF42C887-F37E-451C-80E8-132973C0395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861</TotalTime>
  <Words>2057</Words>
  <Application>Microsoft Office PowerPoint</Application>
  <PresentationFormat>Custom</PresentationFormat>
  <Paragraphs>21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0" baseType="lpstr">
      <vt:lpstr>Arial</vt:lpstr>
      <vt:lpstr>Arial Armenian</vt:lpstr>
      <vt:lpstr>Calibri</vt:lpstr>
      <vt:lpstr>Estrangelo Edessa</vt:lpstr>
      <vt:lpstr>Franklin Gothic Medium Cond</vt:lpstr>
      <vt:lpstr>Georgia</vt:lpstr>
      <vt:lpstr>inherit</vt:lpstr>
      <vt:lpstr>Wingdings</vt:lpstr>
      <vt:lpstr>Firm Format - template_Blue</vt:lpstr>
      <vt:lpstr>1_Firm Format - template_Blue</vt:lpstr>
      <vt:lpstr>2_Firm Format - template_Blue</vt:lpstr>
      <vt:lpstr>Слайд think-cell</vt:lpstr>
      <vt:lpstr>think-cell Slide</vt:lpstr>
      <vt:lpstr>ВТБ Армения</vt:lpstr>
      <vt:lpstr>PowerPoint Presentation</vt:lpstr>
      <vt:lpstr>ВТБ Армения</vt:lpstr>
      <vt:lpstr>ВТБ Армения</vt:lpstr>
      <vt:lpstr>ВТБ Армения</vt:lpstr>
      <vt:lpstr>ВТБ Армения</vt:lpstr>
      <vt:lpstr>ВТБ Армен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ия ВТБ 2022 г.</dc:title>
  <dc:creator>Suren Arutyunyan</dc:creator>
  <cp:lastModifiedBy>Seda Gasparyan</cp:lastModifiedBy>
  <cp:revision>2242</cp:revision>
  <cp:lastPrinted>2023-01-31T09:58:45Z</cp:lastPrinted>
  <dcterms:created xsi:type="dcterms:W3CDTF">2019-02-21T22:41:34Z</dcterms:created>
  <dcterms:modified xsi:type="dcterms:W3CDTF">2023-03-17T10:47:12Z</dcterms:modified>
</cp:coreProperties>
</file>